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5" r:id="rId1"/>
  </p:sldMasterIdLst>
  <p:notesMasterIdLst>
    <p:notesMasterId r:id="rId4"/>
  </p:notesMasterIdLst>
  <p:handoutMasterIdLst>
    <p:handoutMasterId r:id="rId5"/>
  </p:handoutMasterIdLst>
  <p:sldIdLst>
    <p:sldId id="419" r:id="rId2"/>
    <p:sldId id="418" r:id="rId3"/>
  </p:sldIdLst>
  <p:sldSz cx="9906000" cy="6858000" type="A4"/>
  <p:notesSz cx="6802438" cy="9934575"/>
  <p:custDataLst>
    <p:tags r:id="rId6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半導体" id="{FDA5EE94-FB6B-4FD2-A3AC-60212FA432C4}">
          <p14:sldIdLst>
            <p14:sldId id="419"/>
          </p14:sldIdLst>
        </p14:section>
        <p14:section name="MaaS" id="{325DB28E-3B24-477C-B96E-6C030643C1EF}">
          <p14:sldIdLst>
            <p14:sldId id="418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566" userDrawn="1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C64AA"/>
    <a:srgbClr val="D6DF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淡色スタイル 2 - アクセント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E25E649-3F16-4E02-A733-19D2CDBF48F0}" styleName="中間スタイル 3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2DE63D5-997A-4646-A377-4702673A728D}" styleName="淡色スタイル 2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73A0DAA-6AF3-43AB-8588-CEC1D06C72B9}" styleName="スタイル (中間)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中間スタイル 2 - アクセント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7AC3CCA-C797-4891-BE02-D94E43425B78}" styleName="スタイル (中間)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B9631B5-78F2-41C9-869B-9F39066F8104}" styleName="中間スタイル 3 - アクセント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E9639D4-E3E2-4D34-9284-5A2195B3D0D7}" styleName="スタイル (淡色)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B344D84-9AFB-497E-A393-DC336BA19D2E}" styleName="中間スタイル 3 - アクセント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淡色スタイル 1 - アクセント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B301B821-A1FF-4177-AEE7-76D212191A09}" styleName="中間スタイル 1 - アクセント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スタイル (中間)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93296810-A885-4BE3-A3E7-6D5BEEA58F35}" styleName="中間スタイル 2 - アクセント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822" autoAdjust="0"/>
    <p:restoredTop sz="96192" autoAdjust="0"/>
  </p:normalViewPr>
  <p:slideViewPr>
    <p:cSldViewPr snapToObjects="1" showGuides="1">
      <p:cViewPr varScale="1">
        <p:scale>
          <a:sx n="115" d="100"/>
          <a:sy n="115" d="100"/>
        </p:scale>
        <p:origin x="1380" y="102"/>
      </p:cViewPr>
      <p:guideLst>
        <p:guide orient="horz" pos="3566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984"/>
    </p:cViewPr>
  </p:sorterViewPr>
  <p:notesViewPr>
    <p:cSldViewPr snapToObjects="1" showGuides="1">
      <p:cViewPr varScale="1">
        <p:scale>
          <a:sx n="121" d="100"/>
          <a:sy n="121" d="100"/>
        </p:scale>
        <p:origin x="298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3ACD0365-DF38-6046-9301-954ABA44AAA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7722" cy="498454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DB634775-D7A9-0542-ADD4-BA28AD6AB114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3143" y="1"/>
            <a:ext cx="2947722" cy="498454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5451D7CC-EF2C-FD46-8E9B-555F408ACD43}" type="datetimeFigureOut">
              <a:rPr kumimoji="1" lang="ja-JP" altLang="en-US" smtClean="0"/>
              <a:t>2022/6/13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79A105A2-D089-1A48-829A-82E85E34EE9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2" y="9436124"/>
            <a:ext cx="2947722" cy="498453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CEE9F88C-A495-8E4C-91E4-A0448F8E7A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3143" y="9436124"/>
            <a:ext cx="2947722" cy="498453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B8E56E7F-BC97-8844-B5AB-A0E20FD94166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23500831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7722" cy="498454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3143" y="1"/>
            <a:ext cx="2947722" cy="498454"/>
          </a:xfrm>
          <a:prstGeom prst="rect">
            <a:avLst/>
          </a:prstGeom>
        </p:spPr>
        <p:txBody>
          <a:bodyPr vert="horz" lIns="91430" tIns="45716" rIns="91430" bIns="45716" rtlCol="0"/>
          <a:lstStyle>
            <a:lvl1pPr algn="r">
              <a:defRPr sz="1200"/>
            </a:lvl1pPr>
          </a:lstStyle>
          <a:p>
            <a:fld id="{038CA037-5F36-E240-9624-6014F2A8F4EC}" type="datetimeFigureOut">
              <a:rPr kumimoji="1" lang="ja-JP" altLang="en-US" smtClean="0"/>
              <a:t>2022/6/13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40288" cy="33512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0" tIns="45716" rIns="91430" bIns="45716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44" y="4781016"/>
            <a:ext cx="5441950" cy="3911739"/>
          </a:xfrm>
          <a:prstGeom prst="rect">
            <a:avLst/>
          </a:prstGeom>
        </p:spPr>
        <p:txBody>
          <a:bodyPr vert="horz" lIns="91430" tIns="45716" rIns="91430" bIns="45716" rtlCol="0"/>
          <a:lstStyle/>
          <a:p>
            <a:r>
              <a:rPr kumimoji="1" lang="ja-JP" altLang="en-US"/>
              <a:t>マスター テキストの書式設定
第 </a:t>
            </a:r>
            <a:r>
              <a:rPr kumimoji="1" lang="en-US" altLang="ja-JP"/>
              <a:t>2 </a:t>
            </a:r>
            <a:r>
              <a:rPr kumimoji="1" lang="ja-JP" altLang="en-US"/>
              <a:t>レベル
第 </a:t>
            </a:r>
            <a:r>
              <a:rPr kumimoji="1" lang="en-US" altLang="ja-JP"/>
              <a:t>3 </a:t>
            </a:r>
            <a:r>
              <a:rPr kumimoji="1" lang="ja-JP" altLang="en-US"/>
              <a:t>レベル
第 </a:t>
            </a:r>
            <a:r>
              <a:rPr kumimoji="1" lang="en-US" altLang="ja-JP"/>
              <a:t>4 </a:t>
            </a:r>
            <a:r>
              <a:rPr kumimoji="1" lang="ja-JP" altLang="en-US"/>
              <a:t>レベル
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2" y="9436124"/>
            <a:ext cx="2947722" cy="498453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3143" y="9436124"/>
            <a:ext cx="2947722" cy="498453"/>
          </a:xfrm>
          <a:prstGeom prst="rect">
            <a:avLst/>
          </a:prstGeom>
        </p:spPr>
        <p:txBody>
          <a:bodyPr vert="horz" lIns="91430" tIns="45716" rIns="91430" bIns="45716" rtlCol="0" anchor="b"/>
          <a:lstStyle>
            <a:lvl1pPr algn="r">
              <a:defRPr sz="1200"/>
            </a:lvl1pPr>
          </a:lstStyle>
          <a:p>
            <a:fld id="{17B69022-2E16-7042-BFCB-B914F4A6E3B0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0201952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④ 表紙+サブタイトル（写真なし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766" y="2156184"/>
            <a:ext cx="8924283" cy="442035"/>
          </a:xfrm>
          <a:noFill/>
        </p:spPr>
        <p:txBody>
          <a:bodyPr lIns="0" tIns="36000" rIns="0" bIns="36000" anchor="ctr">
            <a:sp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defRPr sz="24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92387" y="418974"/>
            <a:ext cx="8924663" cy="344134"/>
          </a:xfrm>
        </p:spPr>
        <p:txBody>
          <a:bodyPr lIns="0" tIns="46800" rIns="90000" bIns="46800" anchor="ctr">
            <a:spAutoFit/>
          </a:bodyPr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1600" b="1" i="0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495285" indent="0" algn="ctr">
              <a:buNone/>
              <a:defRPr sz="2167"/>
            </a:lvl2pPr>
            <a:lvl3pPr marL="990570" indent="0" algn="ctr">
              <a:buNone/>
              <a:defRPr sz="1950"/>
            </a:lvl3pPr>
            <a:lvl4pPr marL="1485854" indent="0" algn="ctr">
              <a:buNone/>
              <a:defRPr sz="1733"/>
            </a:lvl4pPr>
            <a:lvl5pPr marL="1981139" indent="0" algn="ctr">
              <a:buNone/>
              <a:defRPr sz="1733"/>
            </a:lvl5pPr>
            <a:lvl6pPr marL="2476424" indent="0" algn="ctr">
              <a:buNone/>
              <a:defRPr sz="1733"/>
            </a:lvl6pPr>
            <a:lvl7pPr marL="2971709" indent="0" algn="ctr">
              <a:buNone/>
              <a:defRPr sz="1733"/>
            </a:lvl7pPr>
            <a:lvl8pPr marL="3466993" indent="0" algn="ctr">
              <a:buNone/>
              <a:defRPr sz="1733"/>
            </a:lvl8pPr>
            <a:lvl9pPr marL="3962278" indent="0" algn="ctr">
              <a:buNone/>
              <a:defRPr sz="1733"/>
            </a:lvl9pPr>
          </a:lstStyle>
          <a:p>
            <a:r>
              <a:rPr lang="ja-JP" altLang="en-US" dirty="0"/>
              <a:t>資料名など</a:t>
            </a:r>
            <a:endParaRPr lang="en-US" dirty="0"/>
          </a:p>
        </p:txBody>
      </p:sp>
      <p:sp>
        <p:nvSpPr>
          <p:cNvPr id="15" name="テキスト プレースホルダー 14">
            <a:extLst>
              <a:ext uri="{FF2B5EF4-FFF2-40B4-BE49-F238E27FC236}">
                <a16:creationId xmlns:a16="http://schemas.microsoft.com/office/drawing/2014/main" id="{FDC760E3-9F01-AD4C-BCF9-E22AE02BF0F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92389" y="5436000"/>
            <a:ext cx="6303231" cy="252000"/>
          </a:xfrm>
        </p:spPr>
        <p:txBody>
          <a:bodyPr lIns="0" tIns="0" rIns="0" bIns="0" anchor="ctr">
            <a:noAutofit/>
          </a:bodyPr>
          <a:lstStyle>
            <a:lvl1pPr marL="0" indent="0"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日付</a:t>
            </a:r>
          </a:p>
        </p:txBody>
      </p:sp>
      <p:sp>
        <p:nvSpPr>
          <p:cNvPr id="16" name="テキスト プレースホルダー 14">
            <a:extLst>
              <a:ext uri="{FF2B5EF4-FFF2-40B4-BE49-F238E27FC236}">
                <a16:creationId xmlns:a16="http://schemas.microsoft.com/office/drawing/2014/main" id="{863F2344-476F-5942-A8C9-BC88457AB2D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92765" y="4265052"/>
            <a:ext cx="6303231" cy="1037558"/>
          </a:xfrm>
        </p:spPr>
        <p:txBody>
          <a:bodyPr lIns="0" tIns="0" rIns="0" bIns="0" anchor="t">
            <a:noAutofit/>
          </a:bodyPr>
          <a:lstStyle>
            <a:lvl1pPr marL="0" indent="0">
              <a:lnSpc>
                <a:spcPct val="140000"/>
              </a:lnSpc>
              <a:spcBef>
                <a:spcPts val="0"/>
              </a:spcBef>
              <a:buNone/>
              <a:defRPr sz="1200" b="1" baseline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/>
              <a:t>部署</a:t>
            </a:r>
          </a:p>
        </p:txBody>
      </p:sp>
      <p:sp>
        <p:nvSpPr>
          <p:cNvPr id="5" name="テキスト プレースホルダー 4">
            <a:extLst>
              <a:ext uri="{FF2B5EF4-FFF2-40B4-BE49-F238E27FC236}">
                <a16:creationId xmlns:a16="http://schemas.microsoft.com/office/drawing/2014/main" id="{E2E88B4C-DA79-CC41-98E9-9182634B031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92765" y="3790799"/>
            <a:ext cx="6303231" cy="342000"/>
          </a:xfrm>
        </p:spPr>
        <p:txBody>
          <a:bodyPr lIns="0" tIns="0" rIns="0" bIns="0" anchor="ctr">
            <a:noAutofit/>
          </a:bodyPr>
          <a:lstStyle>
            <a:lvl1pPr marL="0" indent="0" algn="l">
              <a:spcBef>
                <a:spcPts val="0"/>
              </a:spcBef>
              <a:buNone/>
              <a:defRPr sz="1600" b="1" baseline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名前</a:t>
            </a:r>
          </a:p>
        </p:txBody>
      </p:sp>
      <p:sp>
        <p:nvSpPr>
          <p:cNvPr id="8" name="テキスト プレースホルダー 7">
            <a:extLst>
              <a:ext uri="{FF2B5EF4-FFF2-40B4-BE49-F238E27FC236}">
                <a16:creationId xmlns:a16="http://schemas.microsoft.com/office/drawing/2014/main" id="{41877E83-27AD-F84F-8D0E-74403068DF6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2764" y="1189666"/>
            <a:ext cx="8924285" cy="349702"/>
          </a:xfrm>
        </p:spPr>
        <p:txBody>
          <a:bodyPr lIns="0" tIns="36000" rIns="0" bIns="36000" anchor="ctr">
            <a:spAutoFit/>
          </a:bodyPr>
          <a:lstStyle>
            <a:lvl1pPr marL="0" indent="0">
              <a:spcBef>
                <a:spcPts val="0"/>
              </a:spcBef>
              <a:buNone/>
              <a:defRPr sz="1800" b="1" i="0" baseline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</a:lstStyle>
          <a:p>
            <a:r>
              <a:rPr kumimoji="1" lang="ja-JP" altLang="en-US" dirty="0"/>
              <a:t>サブタイトル</a:t>
            </a:r>
          </a:p>
        </p:txBody>
      </p:sp>
      <p:cxnSp>
        <p:nvCxnSpPr>
          <p:cNvPr id="6" name="直線コネクタ 5">
            <a:extLst>
              <a:ext uri="{FF2B5EF4-FFF2-40B4-BE49-F238E27FC236}">
                <a16:creationId xmlns:a16="http://schemas.microsoft.com/office/drawing/2014/main" id="{17E17235-D718-F341-A1F6-9D65CCF7A33F}"/>
              </a:ext>
            </a:extLst>
          </p:cNvPr>
          <p:cNvCxnSpPr/>
          <p:nvPr userDrawn="1"/>
        </p:nvCxnSpPr>
        <p:spPr>
          <a:xfrm>
            <a:off x="493200" y="3439940"/>
            <a:ext cx="4464000" cy="0"/>
          </a:xfrm>
          <a:prstGeom prst="line">
            <a:avLst/>
          </a:prstGeom>
          <a:ln w="31750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78478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1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056775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裏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9BF13952-2A98-4371-B8FA-D6AF7F925068}"/>
              </a:ext>
            </a:extLst>
          </p:cNvPr>
          <p:cNvGrpSpPr/>
          <p:nvPr userDrawn="1"/>
        </p:nvGrpSpPr>
        <p:grpSpPr>
          <a:xfrm>
            <a:off x="2164440" y="2676566"/>
            <a:ext cx="5572788" cy="1507657"/>
            <a:chOff x="2164440" y="2676566"/>
            <a:chExt cx="5572788" cy="1507657"/>
          </a:xfrm>
        </p:grpSpPr>
        <p:grpSp>
          <p:nvGrpSpPr>
            <p:cNvPr id="4" name="グループ化 3">
              <a:extLst>
                <a:ext uri="{FF2B5EF4-FFF2-40B4-BE49-F238E27FC236}">
                  <a16:creationId xmlns:a16="http://schemas.microsoft.com/office/drawing/2014/main" id="{21C973E3-98E4-4AC3-A61C-0910686207FA}"/>
                </a:ext>
              </a:extLst>
            </p:cNvPr>
            <p:cNvGrpSpPr/>
            <p:nvPr userDrawn="1"/>
          </p:nvGrpSpPr>
          <p:grpSpPr>
            <a:xfrm>
              <a:off x="2346016" y="3304475"/>
              <a:ext cx="5209046" cy="404857"/>
              <a:chOff x="2346016" y="3304475"/>
              <a:chExt cx="5209046" cy="404857"/>
            </a:xfrm>
            <a:solidFill>
              <a:srgbClr val="005BAC"/>
            </a:solidFill>
          </p:grpSpPr>
          <p:sp>
            <p:nvSpPr>
              <p:cNvPr id="8" name="フリーフォーム: 図形 7">
                <a:extLst>
                  <a:ext uri="{FF2B5EF4-FFF2-40B4-BE49-F238E27FC236}">
                    <a16:creationId xmlns:a16="http://schemas.microsoft.com/office/drawing/2014/main" id="{9A24B4A4-C081-40CF-B89C-F5273C969ABB}"/>
                  </a:ext>
                </a:extLst>
              </p:cNvPr>
              <p:cNvSpPr/>
              <p:nvPr/>
            </p:nvSpPr>
            <p:spPr>
              <a:xfrm>
                <a:off x="2346016" y="3325721"/>
                <a:ext cx="285249" cy="383611"/>
              </a:xfrm>
              <a:custGeom>
                <a:avLst/>
                <a:gdLst>
                  <a:gd name="connsiteX0" fmla="*/ 271282 w 285249"/>
                  <a:gd name="connsiteY0" fmla="*/ 77706 h 383611"/>
                  <a:gd name="connsiteX1" fmla="*/ 194166 w 285249"/>
                  <a:gd name="connsiteY1" fmla="*/ 58525 h 383611"/>
                  <a:gd name="connsiteX2" fmla="*/ 131903 w 285249"/>
                  <a:gd name="connsiteY2" fmla="*/ 101116 h 383611"/>
                  <a:gd name="connsiteX3" fmla="*/ 258495 w 285249"/>
                  <a:gd name="connsiteY3" fmla="*/ 260167 h 383611"/>
                  <a:gd name="connsiteX4" fmla="*/ 105837 w 285249"/>
                  <a:gd name="connsiteY4" fmla="*/ 384103 h 383611"/>
                  <a:gd name="connsiteX5" fmla="*/ 0 w 285249"/>
                  <a:gd name="connsiteY5" fmla="*/ 363349 h 383611"/>
                  <a:gd name="connsiteX6" fmla="*/ 19181 w 285249"/>
                  <a:gd name="connsiteY6" fmla="*/ 300004 h 383611"/>
                  <a:gd name="connsiteX7" fmla="*/ 110165 w 285249"/>
                  <a:gd name="connsiteY7" fmla="*/ 325578 h 383611"/>
                  <a:gd name="connsiteX8" fmla="*/ 180887 w 285249"/>
                  <a:gd name="connsiteY8" fmla="*/ 267544 h 383611"/>
                  <a:gd name="connsiteX9" fmla="*/ 54296 w 285249"/>
                  <a:gd name="connsiteY9" fmla="*/ 112231 h 383611"/>
                  <a:gd name="connsiteX10" fmla="*/ 192592 w 285249"/>
                  <a:gd name="connsiteY10" fmla="*/ 0 h 383611"/>
                  <a:gd name="connsiteX11" fmla="*/ 288889 w 285249"/>
                  <a:gd name="connsiteY11" fmla="*/ 16525 h 383611"/>
                  <a:gd name="connsiteX12" fmla="*/ 271282 w 285249"/>
                  <a:gd name="connsiteY12" fmla="*/ 77706 h 3836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85249" h="383611">
                    <a:moveTo>
                      <a:pt x="271282" y="77706"/>
                    </a:moveTo>
                    <a:cubicBezTo>
                      <a:pt x="249446" y="66493"/>
                      <a:pt x="221314" y="58525"/>
                      <a:pt x="194166" y="58525"/>
                    </a:cubicBezTo>
                    <a:cubicBezTo>
                      <a:pt x="167609" y="58525"/>
                      <a:pt x="131903" y="69148"/>
                      <a:pt x="131903" y="101116"/>
                    </a:cubicBezTo>
                    <a:cubicBezTo>
                      <a:pt x="131903" y="160723"/>
                      <a:pt x="258495" y="156985"/>
                      <a:pt x="258495" y="260167"/>
                    </a:cubicBezTo>
                    <a:cubicBezTo>
                      <a:pt x="258495" y="351152"/>
                      <a:pt x="187183" y="384103"/>
                      <a:pt x="105837" y="384103"/>
                    </a:cubicBezTo>
                    <a:cubicBezTo>
                      <a:pt x="70230" y="384103"/>
                      <a:pt x="33443" y="375644"/>
                      <a:pt x="0" y="363349"/>
                    </a:cubicBezTo>
                    <a:lnTo>
                      <a:pt x="19181" y="300004"/>
                    </a:lnTo>
                    <a:cubicBezTo>
                      <a:pt x="47902" y="313282"/>
                      <a:pt x="78198" y="325578"/>
                      <a:pt x="110165" y="325578"/>
                    </a:cubicBezTo>
                    <a:cubicBezTo>
                      <a:pt x="145871" y="325578"/>
                      <a:pt x="180887" y="307479"/>
                      <a:pt x="180887" y="267544"/>
                    </a:cubicBezTo>
                    <a:cubicBezTo>
                      <a:pt x="180887" y="200461"/>
                      <a:pt x="54296" y="211183"/>
                      <a:pt x="54296" y="112231"/>
                    </a:cubicBezTo>
                    <a:cubicBezTo>
                      <a:pt x="54296" y="34033"/>
                      <a:pt x="121280" y="0"/>
                      <a:pt x="192592" y="0"/>
                    </a:cubicBezTo>
                    <a:cubicBezTo>
                      <a:pt x="225052" y="0"/>
                      <a:pt x="258593" y="4230"/>
                      <a:pt x="288889" y="16525"/>
                    </a:cubicBezTo>
                    <a:lnTo>
                      <a:pt x="271282" y="77706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9" name="フリーフォーム: 図形 8">
                <a:extLst>
                  <a:ext uri="{FF2B5EF4-FFF2-40B4-BE49-F238E27FC236}">
                    <a16:creationId xmlns:a16="http://schemas.microsoft.com/office/drawing/2014/main" id="{A2814413-C075-48FA-AB95-C5B26ED2E7BA}"/>
                  </a:ext>
                </a:extLst>
              </p:cNvPr>
              <p:cNvSpPr/>
              <p:nvPr/>
            </p:nvSpPr>
            <p:spPr>
              <a:xfrm>
                <a:off x="2624577" y="3304475"/>
                <a:ext cx="285249" cy="393447"/>
              </a:xfrm>
              <a:custGeom>
                <a:avLst/>
                <a:gdLst>
                  <a:gd name="connsiteX0" fmla="*/ 85181 w 285249"/>
                  <a:gd name="connsiteY0" fmla="*/ 0 h 393447"/>
                  <a:gd name="connsiteX1" fmla="*/ 156494 w 285249"/>
                  <a:gd name="connsiteY1" fmla="*/ 0 h 393447"/>
                  <a:gd name="connsiteX2" fmla="*/ 122460 w 285249"/>
                  <a:gd name="connsiteY2" fmla="*/ 151674 h 393447"/>
                  <a:gd name="connsiteX3" fmla="*/ 123542 w 285249"/>
                  <a:gd name="connsiteY3" fmla="*/ 151674 h 393447"/>
                  <a:gd name="connsiteX4" fmla="*/ 201248 w 285249"/>
                  <a:gd name="connsiteY4" fmla="*/ 118723 h 393447"/>
                  <a:gd name="connsiteX5" fmla="*/ 290659 w 285249"/>
                  <a:gd name="connsiteY5" fmla="*/ 206462 h 393447"/>
                  <a:gd name="connsiteX6" fmla="*/ 281610 w 285249"/>
                  <a:gd name="connsiteY6" fmla="*/ 266069 h 393447"/>
                  <a:gd name="connsiteX7" fmla="*/ 252888 w 285249"/>
                  <a:gd name="connsiteY7" fmla="*/ 399054 h 393447"/>
                  <a:gd name="connsiteX8" fmla="*/ 181576 w 285249"/>
                  <a:gd name="connsiteY8" fmla="*/ 399054 h 393447"/>
                  <a:gd name="connsiteX9" fmla="*/ 208134 w 285249"/>
                  <a:gd name="connsiteY9" fmla="*/ 269806 h 393447"/>
                  <a:gd name="connsiteX10" fmla="*/ 216101 w 285249"/>
                  <a:gd name="connsiteY10" fmla="*/ 212363 h 393447"/>
                  <a:gd name="connsiteX11" fmla="*/ 177248 w 285249"/>
                  <a:gd name="connsiteY11" fmla="*/ 174100 h 393447"/>
                  <a:gd name="connsiteX12" fmla="*/ 100624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5181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5181" y="0"/>
                    </a:moveTo>
                    <a:lnTo>
                      <a:pt x="156494" y="0"/>
                    </a:lnTo>
                    <a:lnTo>
                      <a:pt x="122460" y="151674"/>
                    </a:lnTo>
                    <a:lnTo>
                      <a:pt x="123542" y="151674"/>
                    </a:lnTo>
                    <a:cubicBezTo>
                      <a:pt x="143215" y="133575"/>
                      <a:pt x="170363" y="118723"/>
                      <a:pt x="201248" y="118723"/>
                    </a:cubicBezTo>
                    <a:cubicBezTo>
                      <a:pt x="254954" y="118723"/>
                      <a:pt x="290659" y="152264"/>
                      <a:pt x="290659" y="206462"/>
                    </a:cubicBezTo>
                    <a:cubicBezTo>
                      <a:pt x="290659" y="227216"/>
                      <a:pt x="285348" y="249052"/>
                      <a:pt x="281610" y="266069"/>
                    </a:cubicBezTo>
                    <a:lnTo>
                      <a:pt x="252888" y="399054"/>
                    </a:lnTo>
                    <a:lnTo>
                      <a:pt x="181576" y="399054"/>
                    </a:lnTo>
                    <a:lnTo>
                      <a:pt x="208134" y="269806"/>
                    </a:lnTo>
                    <a:cubicBezTo>
                      <a:pt x="211871" y="251216"/>
                      <a:pt x="216101" y="232527"/>
                      <a:pt x="216101" y="212363"/>
                    </a:cubicBezTo>
                    <a:cubicBezTo>
                      <a:pt x="216101" y="189445"/>
                      <a:pt x="200166" y="174100"/>
                      <a:pt x="177248" y="174100"/>
                    </a:cubicBezTo>
                    <a:cubicBezTo>
                      <a:pt x="127772" y="174100"/>
                      <a:pt x="109673" y="220429"/>
                      <a:pt x="100624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518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10" name="フリーフォーム: 図形 9">
                <a:extLst>
                  <a:ext uri="{FF2B5EF4-FFF2-40B4-BE49-F238E27FC236}">
                    <a16:creationId xmlns:a16="http://schemas.microsoft.com/office/drawing/2014/main" id="{53533FB5-7BF9-4D1F-A163-01A9E3C210A9}"/>
                  </a:ext>
                </a:extLst>
              </p:cNvPr>
              <p:cNvSpPr/>
              <p:nvPr/>
            </p:nvSpPr>
            <p:spPr>
              <a:xfrm>
                <a:off x="2926154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5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6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5" y="0"/>
                      <a:pt x="260265" y="20263"/>
                      <a:pt x="260265" y="84591"/>
                    </a:cubicBezTo>
                    <a:cubicBezTo>
                      <a:pt x="260265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6" y="159641"/>
                      <a:pt x="68066" y="205970"/>
                    </a:cubicBezTo>
                    <a:cubicBezTo>
                      <a:pt x="68066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11" name="フリーフォーム: 図形 10">
                <a:extLst>
                  <a:ext uri="{FF2B5EF4-FFF2-40B4-BE49-F238E27FC236}">
                    <a16:creationId xmlns:a16="http://schemas.microsoft.com/office/drawing/2014/main" id="{63654905-CBBE-40EB-AA8F-638C93D94FA2}"/>
                  </a:ext>
                </a:extLst>
              </p:cNvPr>
              <p:cNvSpPr/>
              <p:nvPr/>
            </p:nvSpPr>
            <p:spPr>
              <a:xfrm>
                <a:off x="3200682" y="3423198"/>
                <a:ext cx="216396" cy="275413"/>
              </a:xfrm>
              <a:custGeom>
                <a:avLst/>
                <a:gdLst>
                  <a:gd name="connsiteX0" fmla="*/ 48984 w 216396"/>
                  <a:gd name="connsiteY0" fmla="*/ 43082 h 275413"/>
                  <a:gd name="connsiteX1" fmla="*/ 55378 w 216396"/>
                  <a:gd name="connsiteY1" fmla="*/ 6393 h 275413"/>
                  <a:gd name="connsiteX2" fmla="*/ 123444 w 216396"/>
                  <a:gd name="connsiteY2" fmla="*/ 6393 h 275413"/>
                  <a:gd name="connsiteX3" fmla="*/ 113903 w 216396"/>
                  <a:gd name="connsiteY3" fmla="*/ 58033 h 275413"/>
                  <a:gd name="connsiteX4" fmla="*/ 114985 w 216396"/>
                  <a:gd name="connsiteY4" fmla="*/ 58033 h 275413"/>
                  <a:gd name="connsiteX5" fmla="*/ 195838 w 216396"/>
                  <a:gd name="connsiteY5" fmla="*/ 0 h 275413"/>
                  <a:gd name="connsiteX6" fmla="*/ 222986 w 216396"/>
                  <a:gd name="connsiteY6" fmla="*/ 2656 h 275413"/>
                  <a:gd name="connsiteX7" fmla="*/ 208134 w 216396"/>
                  <a:gd name="connsiteY7" fmla="*/ 72394 h 275413"/>
                  <a:gd name="connsiteX8" fmla="*/ 180986 w 216396"/>
                  <a:gd name="connsiteY8" fmla="*/ 68165 h 275413"/>
                  <a:gd name="connsiteX9" fmla="*/ 96886 w 216396"/>
                  <a:gd name="connsiteY9" fmla="*/ 157576 h 275413"/>
                  <a:gd name="connsiteX10" fmla="*/ 71312 w 216396"/>
                  <a:gd name="connsiteY10" fmla="*/ 280430 h 275413"/>
                  <a:gd name="connsiteX11" fmla="*/ 0 w 216396"/>
                  <a:gd name="connsiteY11" fmla="*/ 280430 h 275413"/>
                  <a:gd name="connsiteX12" fmla="*/ 48984 w 216396"/>
                  <a:gd name="connsiteY12" fmla="*/ 43082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16396" h="275413">
                    <a:moveTo>
                      <a:pt x="48984" y="43082"/>
                    </a:moveTo>
                    <a:cubicBezTo>
                      <a:pt x="51148" y="31377"/>
                      <a:pt x="53214" y="19181"/>
                      <a:pt x="55378" y="6393"/>
                    </a:cubicBezTo>
                    <a:lnTo>
                      <a:pt x="123444" y="6393"/>
                    </a:lnTo>
                    <a:lnTo>
                      <a:pt x="113903" y="58033"/>
                    </a:lnTo>
                    <a:lnTo>
                      <a:pt x="114985" y="58033"/>
                    </a:lnTo>
                    <a:cubicBezTo>
                      <a:pt x="127772" y="28230"/>
                      <a:pt x="162887" y="0"/>
                      <a:pt x="195838" y="0"/>
                    </a:cubicBezTo>
                    <a:cubicBezTo>
                      <a:pt x="204888" y="0"/>
                      <a:pt x="214429" y="492"/>
                      <a:pt x="222986" y="2656"/>
                    </a:cubicBezTo>
                    <a:lnTo>
                      <a:pt x="208134" y="72394"/>
                    </a:lnTo>
                    <a:cubicBezTo>
                      <a:pt x="200166" y="69739"/>
                      <a:pt x="190035" y="68165"/>
                      <a:pt x="180986" y="68165"/>
                    </a:cubicBezTo>
                    <a:cubicBezTo>
                      <a:pt x="130428" y="68165"/>
                      <a:pt x="105936" y="113411"/>
                      <a:pt x="96886" y="157576"/>
                    </a:cubicBezTo>
                    <a:lnTo>
                      <a:pt x="71312" y="280430"/>
                    </a:lnTo>
                    <a:lnTo>
                      <a:pt x="0" y="280430"/>
                    </a:lnTo>
                    <a:lnTo>
                      <a:pt x="48984" y="4308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12" name="フリーフォーム: 図形 11">
                <a:extLst>
                  <a:ext uri="{FF2B5EF4-FFF2-40B4-BE49-F238E27FC236}">
                    <a16:creationId xmlns:a16="http://schemas.microsoft.com/office/drawing/2014/main" id="{77666169-D13E-4837-878B-F44D680D43F1}"/>
                  </a:ext>
                </a:extLst>
              </p:cNvPr>
              <p:cNvSpPr/>
              <p:nvPr/>
            </p:nvSpPr>
            <p:spPr>
              <a:xfrm>
                <a:off x="340920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494 w 265576"/>
                  <a:gd name="connsiteY10" fmla="*/ 116460 h 285249"/>
                  <a:gd name="connsiteX11" fmla="*/ 200068 w 265576"/>
                  <a:gd name="connsiteY11" fmla="*/ 97870 h 285249"/>
                  <a:gd name="connsiteX12" fmla="*/ 154821 w 265576"/>
                  <a:gd name="connsiteY12" fmla="*/ 52132 h 285249"/>
                  <a:gd name="connsiteX13" fmla="*/ 77706 w 265576"/>
                  <a:gd name="connsiteY13" fmla="*/ 116460 h 285249"/>
                  <a:gd name="connsiteX14" fmla="*/ 198494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494" y="116460"/>
                    </a:moveTo>
                    <a:cubicBezTo>
                      <a:pt x="199576" y="110067"/>
                      <a:pt x="200068" y="104264"/>
                      <a:pt x="200068" y="97870"/>
                    </a:cubicBezTo>
                    <a:cubicBezTo>
                      <a:pt x="200068" y="68657"/>
                      <a:pt x="184625" y="52132"/>
                      <a:pt x="154821" y="52132"/>
                    </a:cubicBezTo>
                    <a:cubicBezTo>
                      <a:pt x="110657" y="52132"/>
                      <a:pt x="91477" y="78689"/>
                      <a:pt x="77706" y="116460"/>
                    </a:cubicBezTo>
                    <a:lnTo>
                      <a:pt x="198494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 dirty="0"/>
              </a:p>
            </p:txBody>
          </p:sp>
          <p:sp>
            <p:nvSpPr>
              <p:cNvPr id="13" name="フリーフォーム: 図形 12">
                <a:extLst>
                  <a:ext uri="{FF2B5EF4-FFF2-40B4-BE49-F238E27FC236}">
                    <a16:creationId xmlns:a16="http://schemas.microsoft.com/office/drawing/2014/main" id="{DAF47480-36D5-4094-8EF8-7FF6326591A0}"/>
                  </a:ext>
                </a:extLst>
              </p:cNvPr>
              <p:cNvSpPr/>
              <p:nvPr/>
            </p:nvSpPr>
            <p:spPr>
              <a:xfrm>
                <a:off x="3803247" y="3348148"/>
                <a:ext cx="196724" cy="354103"/>
              </a:xfrm>
              <a:custGeom>
                <a:avLst/>
                <a:gdLst>
                  <a:gd name="connsiteX0" fmla="*/ 11016 w 196723"/>
                  <a:gd name="connsiteY0" fmla="*/ 81345 h 354102"/>
                  <a:gd name="connsiteX1" fmla="*/ 62656 w 196723"/>
                  <a:gd name="connsiteY1" fmla="*/ 81345 h 354102"/>
                  <a:gd name="connsiteX2" fmla="*/ 74853 w 196723"/>
                  <a:gd name="connsiteY2" fmla="*/ 24984 h 354102"/>
                  <a:gd name="connsiteX3" fmla="*/ 151477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542 w 196723"/>
                  <a:gd name="connsiteY9" fmla="*/ 279839 h 354102"/>
                  <a:gd name="connsiteX10" fmla="*/ 120690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016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016" y="81345"/>
                    </a:moveTo>
                    <a:lnTo>
                      <a:pt x="62656" y="81345"/>
                    </a:lnTo>
                    <a:lnTo>
                      <a:pt x="74853" y="24984"/>
                    </a:lnTo>
                    <a:lnTo>
                      <a:pt x="151477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542" y="269216"/>
                      <a:pt x="93542" y="279839"/>
                    </a:cubicBezTo>
                    <a:cubicBezTo>
                      <a:pt x="93542" y="296364"/>
                      <a:pt x="104755" y="306496"/>
                      <a:pt x="120690" y="306496"/>
                    </a:cubicBezTo>
                    <a:cubicBezTo>
                      <a:pt x="133477" y="306496"/>
                      <a:pt x="146264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016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14" name="フリーフォーム: 図形 13">
                <a:extLst>
                  <a:ext uri="{FF2B5EF4-FFF2-40B4-BE49-F238E27FC236}">
                    <a16:creationId xmlns:a16="http://schemas.microsoft.com/office/drawing/2014/main" id="{2D8945EC-D9E1-43BF-B072-3AF572851C68}"/>
                  </a:ext>
                </a:extLst>
              </p:cNvPr>
              <p:cNvSpPr/>
              <p:nvPr/>
            </p:nvSpPr>
            <p:spPr>
              <a:xfrm>
                <a:off x="3980790" y="3304475"/>
                <a:ext cx="285249" cy="393447"/>
              </a:xfrm>
              <a:custGeom>
                <a:avLst/>
                <a:gdLst>
                  <a:gd name="connsiteX0" fmla="*/ 84985 w 285249"/>
                  <a:gd name="connsiteY0" fmla="*/ 0 h 393447"/>
                  <a:gd name="connsiteX1" fmla="*/ 156297 w 285249"/>
                  <a:gd name="connsiteY1" fmla="*/ 0 h 393447"/>
                  <a:gd name="connsiteX2" fmla="*/ 122264 w 285249"/>
                  <a:gd name="connsiteY2" fmla="*/ 151674 h 393447"/>
                  <a:gd name="connsiteX3" fmla="*/ 123346 w 285249"/>
                  <a:gd name="connsiteY3" fmla="*/ 151674 h 393447"/>
                  <a:gd name="connsiteX4" fmla="*/ 201052 w 285249"/>
                  <a:gd name="connsiteY4" fmla="*/ 118723 h 393447"/>
                  <a:gd name="connsiteX5" fmla="*/ 290463 w 285249"/>
                  <a:gd name="connsiteY5" fmla="*/ 206462 h 393447"/>
                  <a:gd name="connsiteX6" fmla="*/ 281413 w 285249"/>
                  <a:gd name="connsiteY6" fmla="*/ 266069 h 393447"/>
                  <a:gd name="connsiteX7" fmla="*/ 252692 w 285249"/>
                  <a:gd name="connsiteY7" fmla="*/ 399054 h 393447"/>
                  <a:gd name="connsiteX8" fmla="*/ 181379 w 285249"/>
                  <a:gd name="connsiteY8" fmla="*/ 399054 h 393447"/>
                  <a:gd name="connsiteX9" fmla="*/ 208035 w 285249"/>
                  <a:gd name="connsiteY9" fmla="*/ 269806 h 393447"/>
                  <a:gd name="connsiteX10" fmla="*/ 216003 w 285249"/>
                  <a:gd name="connsiteY10" fmla="*/ 212363 h 393447"/>
                  <a:gd name="connsiteX11" fmla="*/ 177150 w 285249"/>
                  <a:gd name="connsiteY11" fmla="*/ 174100 h 393447"/>
                  <a:gd name="connsiteX12" fmla="*/ 100526 w 285249"/>
                  <a:gd name="connsiteY12" fmla="*/ 261347 h 393447"/>
                  <a:gd name="connsiteX13" fmla="*/ 71312 w 285249"/>
                  <a:gd name="connsiteY13" fmla="*/ 399152 h 393447"/>
                  <a:gd name="connsiteX14" fmla="*/ 0 w 285249"/>
                  <a:gd name="connsiteY14" fmla="*/ 399152 h 393447"/>
                  <a:gd name="connsiteX15" fmla="*/ 84985 w 285249"/>
                  <a:gd name="connsiteY15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85249" h="393447">
                    <a:moveTo>
                      <a:pt x="84985" y="0"/>
                    </a:moveTo>
                    <a:lnTo>
                      <a:pt x="156297" y="0"/>
                    </a:lnTo>
                    <a:lnTo>
                      <a:pt x="122264" y="151674"/>
                    </a:lnTo>
                    <a:lnTo>
                      <a:pt x="123346" y="151674"/>
                    </a:lnTo>
                    <a:cubicBezTo>
                      <a:pt x="143018" y="133575"/>
                      <a:pt x="170166" y="118723"/>
                      <a:pt x="201052" y="118723"/>
                    </a:cubicBezTo>
                    <a:cubicBezTo>
                      <a:pt x="254757" y="118723"/>
                      <a:pt x="290463" y="152264"/>
                      <a:pt x="290463" y="206462"/>
                    </a:cubicBezTo>
                    <a:cubicBezTo>
                      <a:pt x="290463" y="227216"/>
                      <a:pt x="285151" y="249052"/>
                      <a:pt x="281413" y="266069"/>
                    </a:cubicBezTo>
                    <a:lnTo>
                      <a:pt x="252692" y="399054"/>
                    </a:lnTo>
                    <a:lnTo>
                      <a:pt x="181379" y="399054"/>
                    </a:lnTo>
                    <a:lnTo>
                      <a:pt x="208035" y="269806"/>
                    </a:lnTo>
                    <a:cubicBezTo>
                      <a:pt x="211773" y="251216"/>
                      <a:pt x="216003" y="232527"/>
                      <a:pt x="216003" y="212363"/>
                    </a:cubicBezTo>
                    <a:cubicBezTo>
                      <a:pt x="216003" y="189445"/>
                      <a:pt x="200068" y="174100"/>
                      <a:pt x="177150" y="174100"/>
                    </a:cubicBezTo>
                    <a:cubicBezTo>
                      <a:pt x="127674" y="174100"/>
                      <a:pt x="109575" y="220429"/>
                      <a:pt x="100526" y="261347"/>
                    </a:cubicBezTo>
                    <a:lnTo>
                      <a:pt x="71312" y="399152"/>
                    </a:lnTo>
                    <a:lnTo>
                      <a:pt x="0" y="399152"/>
                    </a:lnTo>
                    <a:lnTo>
                      <a:pt x="84985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15" name="フリーフォーム: 図形 14">
                <a:extLst>
                  <a:ext uri="{FF2B5EF4-FFF2-40B4-BE49-F238E27FC236}">
                    <a16:creationId xmlns:a16="http://schemas.microsoft.com/office/drawing/2014/main" id="{BE06E49B-F78D-4CAE-820F-40F26D0EE9FA}"/>
                  </a:ext>
                </a:extLst>
              </p:cNvPr>
              <p:cNvSpPr/>
              <p:nvPr/>
            </p:nvSpPr>
            <p:spPr>
              <a:xfrm>
                <a:off x="4291023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70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70" y="104264"/>
                      <a:pt x="199970" y="97870"/>
                    </a:cubicBezTo>
                    <a:cubicBezTo>
                      <a:pt x="199970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16" name="フリーフォーム: 図形 15">
                <a:extLst>
                  <a:ext uri="{FF2B5EF4-FFF2-40B4-BE49-F238E27FC236}">
                    <a16:creationId xmlns:a16="http://schemas.microsoft.com/office/drawing/2014/main" id="{26A20729-81BE-4331-B0A8-62ED03F754F7}"/>
                  </a:ext>
                </a:extLst>
              </p:cNvPr>
              <p:cNvSpPr/>
              <p:nvPr/>
            </p:nvSpPr>
            <p:spPr>
              <a:xfrm>
                <a:off x="4668831" y="3332213"/>
                <a:ext cx="383611" cy="363939"/>
              </a:xfrm>
              <a:custGeom>
                <a:avLst/>
                <a:gdLst>
                  <a:gd name="connsiteX0" fmla="*/ 79870 w 383611"/>
                  <a:gd name="connsiteY0" fmla="*/ 0 h 363938"/>
                  <a:gd name="connsiteX1" fmla="*/ 174002 w 383611"/>
                  <a:gd name="connsiteY1" fmla="*/ 0 h 363938"/>
                  <a:gd name="connsiteX2" fmla="*/ 253282 w 383611"/>
                  <a:gd name="connsiteY2" fmla="*/ 282003 h 363938"/>
                  <a:gd name="connsiteX3" fmla="*/ 254364 w 383611"/>
                  <a:gd name="connsiteY3" fmla="*/ 282003 h 363938"/>
                  <a:gd name="connsiteX4" fmla="*/ 315053 w 383611"/>
                  <a:gd name="connsiteY4" fmla="*/ 0 h 363938"/>
                  <a:gd name="connsiteX5" fmla="*/ 385283 w 383611"/>
                  <a:gd name="connsiteY5" fmla="*/ 0 h 363938"/>
                  <a:gd name="connsiteX6" fmla="*/ 304922 w 383611"/>
                  <a:gd name="connsiteY6" fmla="*/ 371316 h 363938"/>
                  <a:gd name="connsiteX7" fmla="*/ 209117 w 383611"/>
                  <a:gd name="connsiteY7" fmla="*/ 371316 h 363938"/>
                  <a:gd name="connsiteX8" fmla="*/ 131411 w 383611"/>
                  <a:gd name="connsiteY8" fmla="*/ 86657 h 363938"/>
                  <a:gd name="connsiteX9" fmla="*/ 130329 w 383611"/>
                  <a:gd name="connsiteY9" fmla="*/ 86657 h 363938"/>
                  <a:gd name="connsiteX10" fmla="*/ 71312 w 383611"/>
                  <a:gd name="connsiteY10" fmla="*/ 371316 h 363938"/>
                  <a:gd name="connsiteX11" fmla="*/ 0 w 383611"/>
                  <a:gd name="connsiteY11" fmla="*/ 371316 h 363938"/>
                  <a:gd name="connsiteX12" fmla="*/ 79870 w 383611"/>
                  <a:gd name="connsiteY12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83611" h="363938">
                    <a:moveTo>
                      <a:pt x="79870" y="0"/>
                    </a:moveTo>
                    <a:lnTo>
                      <a:pt x="174002" y="0"/>
                    </a:lnTo>
                    <a:lnTo>
                      <a:pt x="253282" y="282003"/>
                    </a:lnTo>
                    <a:lnTo>
                      <a:pt x="254364" y="282003"/>
                    </a:lnTo>
                    <a:lnTo>
                      <a:pt x="315053" y="0"/>
                    </a:lnTo>
                    <a:lnTo>
                      <a:pt x="385283" y="0"/>
                    </a:lnTo>
                    <a:lnTo>
                      <a:pt x="304922" y="371316"/>
                    </a:lnTo>
                    <a:lnTo>
                      <a:pt x="209117" y="371316"/>
                    </a:lnTo>
                    <a:lnTo>
                      <a:pt x="131411" y="86657"/>
                    </a:lnTo>
                    <a:lnTo>
                      <a:pt x="130329" y="86657"/>
                    </a:lnTo>
                    <a:lnTo>
                      <a:pt x="71312" y="371316"/>
                    </a:lnTo>
                    <a:lnTo>
                      <a:pt x="0" y="371316"/>
                    </a:lnTo>
                    <a:lnTo>
                      <a:pt x="7987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17" name="フリーフォーム: 図形 16">
                <a:extLst>
                  <a:ext uri="{FF2B5EF4-FFF2-40B4-BE49-F238E27FC236}">
                    <a16:creationId xmlns:a16="http://schemas.microsoft.com/office/drawing/2014/main" id="{EF26EC4D-4F79-495F-81E4-B719AD100CDF}"/>
                  </a:ext>
                </a:extLst>
              </p:cNvPr>
              <p:cNvSpPr/>
              <p:nvPr/>
            </p:nvSpPr>
            <p:spPr>
              <a:xfrm>
                <a:off x="5037589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4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1" y="279839"/>
                      <a:pt x="161117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4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18" name="フリーフォーム: 図形 17">
                <a:extLst>
                  <a:ext uri="{FF2B5EF4-FFF2-40B4-BE49-F238E27FC236}">
                    <a16:creationId xmlns:a16="http://schemas.microsoft.com/office/drawing/2014/main" id="{5C6EC18A-F961-44F5-B85E-8A3D9FF46D0C}"/>
                  </a:ext>
                </a:extLst>
              </p:cNvPr>
              <p:cNvSpPr/>
              <p:nvPr/>
            </p:nvSpPr>
            <p:spPr>
              <a:xfrm>
                <a:off x="5275231" y="3429591"/>
                <a:ext cx="334430" cy="265577"/>
              </a:xfrm>
              <a:custGeom>
                <a:avLst/>
                <a:gdLst>
                  <a:gd name="connsiteX0" fmla="*/ 175674 w 334430"/>
                  <a:gd name="connsiteY0" fmla="*/ 94132 h 265576"/>
                  <a:gd name="connsiteX1" fmla="*/ 252790 w 334430"/>
                  <a:gd name="connsiteY1" fmla="*/ 0 h 265576"/>
                  <a:gd name="connsiteX2" fmla="*/ 337873 w 334430"/>
                  <a:gd name="connsiteY2" fmla="*/ 0 h 265576"/>
                  <a:gd name="connsiteX3" fmla="*/ 221314 w 334430"/>
                  <a:gd name="connsiteY3" fmla="*/ 130920 h 265576"/>
                  <a:gd name="connsiteX4" fmla="*/ 286725 w 334430"/>
                  <a:gd name="connsiteY4" fmla="*/ 274036 h 265576"/>
                  <a:gd name="connsiteX5" fmla="*/ 209019 w 334430"/>
                  <a:gd name="connsiteY5" fmla="*/ 274036 h 265576"/>
                  <a:gd name="connsiteX6" fmla="*/ 167018 w 334430"/>
                  <a:gd name="connsiteY6" fmla="*/ 169182 h 265576"/>
                  <a:gd name="connsiteX7" fmla="*/ 85083 w 334430"/>
                  <a:gd name="connsiteY7" fmla="*/ 274036 h 265576"/>
                  <a:gd name="connsiteX8" fmla="*/ 0 w 334430"/>
                  <a:gd name="connsiteY8" fmla="*/ 274036 h 265576"/>
                  <a:gd name="connsiteX9" fmla="*/ 123936 w 334430"/>
                  <a:gd name="connsiteY9" fmla="*/ 130920 h 265576"/>
                  <a:gd name="connsiteX10" fmla="*/ 65902 w 334430"/>
                  <a:gd name="connsiteY10" fmla="*/ 0 h 265576"/>
                  <a:gd name="connsiteX11" fmla="*/ 139871 w 334430"/>
                  <a:gd name="connsiteY11" fmla="*/ 0 h 265576"/>
                  <a:gd name="connsiteX12" fmla="*/ 175674 w 334430"/>
                  <a:gd name="connsiteY12" fmla="*/ 94132 h 26557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334430" h="265576">
                    <a:moveTo>
                      <a:pt x="175674" y="94132"/>
                    </a:moveTo>
                    <a:lnTo>
                      <a:pt x="252790" y="0"/>
                    </a:lnTo>
                    <a:lnTo>
                      <a:pt x="337873" y="0"/>
                    </a:lnTo>
                    <a:lnTo>
                      <a:pt x="221314" y="130920"/>
                    </a:lnTo>
                    <a:lnTo>
                      <a:pt x="286725" y="274036"/>
                    </a:lnTo>
                    <a:lnTo>
                      <a:pt x="209019" y="274036"/>
                    </a:lnTo>
                    <a:lnTo>
                      <a:pt x="167018" y="169182"/>
                    </a:lnTo>
                    <a:lnTo>
                      <a:pt x="85083" y="274036"/>
                    </a:lnTo>
                    <a:lnTo>
                      <a:pt x="0" y="274036"/>
                    </a:lnTo>
                    <a:lnTo>
                      <a:pt x="123936" y="130920"/>
                    </a:lnTo>
                    <a:lnTo>
                      <a:pt x="65902" y="0"/>
                    </a:lnTo>
                    <a:lnTo>
                      <a:pt x="139871" y="0"/>
                    </a:lnTo>
                    <a:lnTo>
                      <a:pt x="175674" y="94132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19" name="フリーフォーム: 図形 18">
                <a:extLst>
                  <a:ext uri="{FF2B5EF4-FFF2-40B4-BE49-F238E27FC236}">
                    <a16:creationId xmlns:a16="http://schemas.microsoft.com/office/drawing/2014/main" id="{83BC94BA-DD17-452B-8186-749BD5C219E0}"/>
                  </a:ext>
                </a:extLst>
              </p:cNvPr>
              <p:cNvSpPr/>
              <p:nvPr/>
            </p:nvSpPr>
            <p:spPr>
              <a:xfrm>
                <a:off x="5620973" y="3348148"/>
                <a:ext cx="196724" cy="354103"/>
              </a:xfrm>
              <a:custGeom>
                <a:avLst/>
                <a:gdLst>
                  <a:gd name="connsiteX0" fmla="*/ 11115 w 196723"/>
                  <a:gd name="connsiteY0" fmla="*/ 81345 h 354102"/>
                  <a:gd name="connsiteX1" fmla="*/ 62755 w 196723"/>
                  <a:gd name="connsiteY1" fmla="*/ 81345 h 354102"/>
                  <a:gd name="connsiteX2" fmla="*/ 74952 w 196723"/>
                  <a:gd name="connsiteY2" fmla="*/ 24984 h 354102"/>
                  <a:gd name="connsiteX3" fmla="*/ 151576 w 196723"/>
                  <a:gd name="connsiteY3" fmla="*/ 0 h 354102"/>
                  <a:gd name="connsiteX4" fmla="*/ 133969 w 196723"/>
                  <a:gd name="connsiteY4" fmla="*/ 81444 h 354102"/>
                  <a:gd name="connsiteX5" fmla="*/ 197806 w 196723"/>
                  <a:gd name="connsiteY5" fmla="*/ 81444 h 354102"/>
                  <a:gd name="connsiteX6" fmla="*/ 186592 w 196723"/>
                  <a:gd name="connsiteY6" fmla="*/ 133575 h 354102"/>
                  <a:gd name="connsiteX7" fmla="*/ 122756 w 196723"/>
                  <a:gd name="connsiteY7" fmla="*/ 133575 h 354102"/>
                  <a:gd name="connsiteX8" fmla="*/ 96690 w 196723"/>
                  <a:gd name="connsiteY8" fmla="*/ 253282 h 354102"/>
                  <a:gd name="connsiteX9" fmla="*/ 93444 w 196723"/>
                  <a:gd name="connsiteY9" fmla="*/ 279839 h 354102"/>
                  <a:gd name="connsiteX10" fmla="*/ 120592 w 196723"/>
                  <a:gd name="connsiteY10" fmla="*/ 306496 h 354102"/>
                  <a:gd name="connsiteX11" fmla="*/ 155215 w 196723"/>
                  <a:gd name="connsiteY11" fmla="*/ 300102 h 354102"/>
                  <a:gd name="connsiteX12" fmla="*/ 143018 w 196723"/>
                  <a:gd name="connsiteY12" fmla="*/ 355480 h 354102"/>
                  <a:gd name="connsiteX13" fmla="*/ 104755 w 196723"/>
                  <a:gd name="connsiteY13" fmla="*/ 361873 h 354102"/>
                  <a:gd name="connsiteX14" fmla="*/ 22328 w 196723"/>
                  <a:gd name="connsiteY14" fmla="*/ 290069 h 354102"/>
                  <a:gd name="connsiteX15" fmla="*/ 31377 w 196723"/>
                  <a:gd name="connsiteY15" fmla="*/ 226232 h 354102"/>
                  <a:gd name="connsiteX16" fmla="*/ 51640 w 196723"/>
                  <a:gd name="connsiteY16" fmla="*/ 133674 h 354102"/>
                  <a:gd name="connsiteX17" fmla="*/ 0 w 196723"/>
                  <a:gd name="connsiteY17" fmla="*/ 133674 h 354102"/>
                  <a:gd name="connsiteX18" fmla="*/ 11115 w 196723"/>
                  <a:gd name="connsiteY18" fmla="*/ 81345 h 3541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6723" h="354102">
                    <a:moveTo>
                      <a:pt x="11115" y="81345"/>
                    </a:moveTo>
                    <a:lnTo>
                      <a:pt x="62755" y="81345"/>
                    </a:lnTo>
                    <a:lnTo>
                      <a:pt x="74952" y="24984"/>
                    </a:lnTo>
                    <a:lnTo>
                      <a:pt x="151576" y="0"/>
                    </a:lnTo>
                    <a:lnTo>
                      <a:pt x="133969" y="81444"/>
                    </a:lnTo>
                    <a:lnTo>
                      <a:pt x="197806" y="81444"/>
                    </a:lnTo>
                    <a:lnTo>
                      <a:pt x="186592" y="133575"/>
                    </a:lnTo>
                    <a:lnTo>
                      <a:pt x="122756" y="133575"/>
                    </a:lnTo>
                    <a:lnTo>
                      <a:pt x="96690" y="253282"/>
                    </a:lnTo>
                    <a:cubicBezTo>
                      <a:pt x="95116" y="259675"/>
                      <a:pt x="93444" y="269216"/>
                      <a:pt x="93444" y="279839"/>
                    </a:cubicBezTo>
                    <a:cubicBezTo>
                      <a:pt x="93444" y="296364"/>
                      <a:pt x="104657" y="306496"/>
                      <a:pt x="120592" y="306496"/>
                    </a:cubicBezTo>
                    <a:cubicBezTo>
                      <a:pt x="133379" y="306496"/>
                      <a:pt x="146166" y="303840"/>
                      <a:pt x="155215" y="300102"/>
                    </a:cubicBezTo>
                    <a:lnTo>
                      <a:pt x="143018" y="355480"/>
                    </a:lnTo>
                    <a:cubicBezTo>
                      <a:pt x="130821" y="358135"/>
                      <a:pt x="116952" y="361873"/>
                      <a:pt x="104755" y="361873"/>
                    </a:cubicBezTo>
                    <a:cubicBezTo>
                      <a:pt x="56361" y="361873"/>
                      <a:pt x="22328" y="342693"/>
                      <a:pt x="22328" y="290069"/>
                    </a:cubicBezTo>
                    <a:cubicBezTo>
                      <a:pt x="22328" y="268823"/>
                      <a:pt x="26558" y="248069"/>
                      <a:pt x="31377" y="226232"/>
                    </a:cubicBezTo>
                    <a:lnTo>
                      <a:pt x="51640" y="133674"/>
                    </a:lnTo>
                    <a:lnTo>
                      <a:pt x="0" y="133674"/>
                    </a:lnTo>
                    <a:lnTo>
                      <a:pt x="11115" y="81345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20" name="フリーフォーム: 図形 19">
                <a:extLst>
                  <a:ext uri="{FF2B5EF4-FFF2-40B4-BE49-F238E27FC236}">
                    <a16:creationId xmlns:a16="http://schemas.microsoft.com/office/drawing/2014/main" id="{CAD618D7-AFD2-4479-8DC8-FEBCAF80CF6F}"/>
                  </a:ext>
                </a:extLst>
              </p:cNvPr>
              <p:cNvSpPr/>
              <p:nvPr/>
            </p:nvSpPr>
            <p:spPr>
              <a:xfrm>
                <a:off x="5941436" y="3332213"/>
                <a:ext cx="344266" cy="363939"/>
              </a:xfrm>
              <a:custGeom>
                <a:avLst/>
                <a:gdLst>
                  <a:gd name="connsiteX0" fmla="*/ 0 w 344266"/>
                  <a:gd name="connsiteY0" fmla="*/ 0 h 363938"/>
                  <a:gd name="connsiteX1" fmla="*/ 74460 w 344266"/>
                  <a:gd name="connsiteY1" fmla="*/ 0 h 363938"/>
                  <a:gd name="connsiteX2" fmla="*/ 109083 w 344266"/>
                  <a:gd name="connsiteY2" fmla="*/ 288889 h 363938"/>
                  <a:gd name="connsiteX3" fmla="*/ 110165 w 344266"/>
                  <a:gd name="connsiteY3" fmla="*/ 288889 h 363938"/>
                  <a:gd name="connsiteX4" fmla="*/ 264495 w 344266"/>
                  <a:gd name="connsiteY4" fmla="*/ 0 h 363938"/>
                  <a:gd name="connsiteX5" fmla="*/ 345349 w 344266"/>
                  <a:gd name="connsiteY5" fmla="*/ 0 h 363938"/>
                  <a:gd name="connsiteX6" fmla="*/ 137805 w 344266"/>
                  <a:gd name="connsiteY6" fmla="*/ 371316 h 363938"/>
                  <a:gd name="connsiteX7" fmla="*/ 48984 w 344266"/>
                  <a:gd name="connsiteY7" fmla="*/ 371316 h 363938"/>
                  <a:gd name="connsiteX8" fmla="*/ 0 w 344266"/>
                  <a:gd name="connsiteY8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344266" h="363938">
                    <a:moveTo>
                      <a:pt x="0" y="0"/>
                    </a:moveTo>
                    <a:lnTo>
                      <a:pt x="74460" y="0"/>
                    </a:lnTo>
                    <a:lnTo>
                      <a:pt x="109083" y="288889"/>
                    </a:lnTo>
                    <a:lnTo>
                      <a:pt x="110165" y="288889"/>
                    </a:lnTo>
                    <a:lnTo>
                      <a:pt x="264495" y="0"/>
                    </a:lnTo>
                    <a:lnTo>
                      <a:pt x="345349" y="0"/>
                    </a:lnTo>
                    <a:lnTo>
                      <a:pt x="137805" y="371316"/>
                    </a:lnTo>
                    <a:lnTo>
                      <a:pt x="48984" y="371316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21" name="フリーフォーム: 図形 20">
                <a:extLst>
                  <a:ext uri="{FF2B5EF4-FFF2-40B4-BE49-F238E27FC236}">
                    <a16:creationId xmlns:a16="http://schemas.microsoft.com/office/drawing/2014/main" id="{C626F9D6-3FBD-4638-96B3-C7CB2D4D5332}"/>
                  </a:ext>
                </a:extLst>
              </p:cNvPr>
              <p:cNvSpPr/>
              <p:nvPr/>
            </p:nvSpPr>
            <p:spPr>
              <a:xfrm>
                <a:off x="6204259" y="3423099"/>
                <a:ext cx="255741" cy="285249"/>
              </a:xfrm>
              <a:custGeom>
                <a:avLst/>
                <a:gdLst>
                  <a:gd name="connsiteX0" fmla="*/ 174002 w 255740"/>
                  <a:gd name="connsiteY0" fmla="*/ 238429 h 285249"/>
                  <a:gd name="connsiteX1" fmla="*/ 172920 w 255740"/>
                  <a:gd name="connsiteY1" fmla="*/ 238429 h 285249"/>
                  <a:gd name="connsiteX2" fmla="*/ 84591 w 255740"/>
                  <a:gd name="connsiteY2" fmla="*/ 286823 h 285249"/>
                  <a:gd name="connsiteX3" fmla="*/ 0 w 255740"/>
                  <a:gd name="connsiteY3" fmla="*/ 208625 h 285249"/>
                  <a:gd name="connsiteX4" fmla="*/ 168100 w 255740"/>
                  <a:gd name="connsiteY4" fmla="*/ 111247 h 285249"/>
                  <a:gd name="connsiteX5" fmla="*/ 193084 w 255740"/>
                  <a:gd name="connsiteY5" fmla="*/ 111247 h 285249"/>
                  <a:gd name="connsiteX6" fmla="*/ 195248 w 255740"/>
                  <a:gd name="connsiteY6" fmla="*/ 87837 h 285249"/>
                  <a:gd name="connsiteX7" fmla="*/ 140461 w 255740"/>
                  <a:gd name="connsiteY7" fmla="*/ 52230 h 285249"/>
                  <a:gd name="connsiteX8" fmla="*/ 50558 w 255740"/>
                  <a:gd name="connsiteY8" fmla="*/ 73476 h 285249"/>
                  <a:gd name="connsiteX9" fmla="*/ 60689 w 255740"/>
                  <a:gd name="connsiteY9" fmla="*/ 16525 h 285249"/>
                  <a:gd name="connsiteX10" fmla="*/ 153838 w 255740"/>
                  <a:gd name="connsiteY10" fmla="*/ 0 h 285249"/>
                  <a:gd name="connsiteX11" fmla="*/ 260266 w 255740"/>
                  <a:gd name="connsiteY11" fmla="*/ 84591 h 285249"/>
                  <a:gd name="connsiteX12" fmla="*/ 226724 w 255740"/>
                  <a:gd name="connsiteY12" fmla="*/ 280331 h 285249"/>
                  <a:gd name="connsiteX13" fmla="*/ 166625 w 255740"/>
                  <a:gd name="connsiteY13" fmla="*/ 280331 h 285249"/>
                  <a:gd name="connsiteX14" fmla="*/ 174002 w 255740"/>
                  <a:gd name="connsiteY14" fmla="*/ 238429 h 285249"/>
                  <a:gd name="connsiteX15" fmla="*/ 104264 w 255740"/>
                  <a:gd name="connsiteY15" fmla="*/ 234691 h 285249"/>
                  <a:gd name="connsiteX16" fmla="*/ 185117 w 255740"/>
                  <a:gd name="connsiteY16" fmla="*/ 153838 h 285249"/>
                  <a:gd name="connsiteX17" fmla="*/ 160133 w 255740"/>
                  <a:gd name="connsiteY17" fmla="*/ 153838 h 285249"/>
                  <a:gd name="connsiteX18" fmla="*/ 68067 w 255740"/>
                  <a:gd name="connsiteY18" fmla="*/ 205970 h 285249"/>
                  <a:gd name="connsiteX19" fmla="*/ 104264 w 255740"/>
                  <a:gd name="connsiteY19" fmla="*/ 234691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255740" h="285249">
                    <a:moveTo>
                      <a:pt x="174002" y="238429"/>
                    </a:moveTo>
                    <a:lnTo>
                      <a:pt x="172920" y="238429"/>
                    </a:lnTo>
                    <a:cubicBezTo>
                      <a:pt x="148428" y="269315"/>
                      <a:pt x="123936" y="286823"/>
                      <a:pt x="84591" y="286823"/>
                    </a:cubicBezTo>
                    <a:cubicBezTo>
                      <a:pt x="35115" y="286823"/>
                      <a:pt x="0" y="259183"/>
                      <a:pt x="0" y="208625"/>
                    </a:cubicBezTo>
                    <a:cubicBezTo>
                      <a:pt x="0" y="118133"/>
                      <a:pt x="101116" y="111247"/>
                      <a:pt x="168100" y="111247"/>
                    </a:cubicBezTo>
                    <a:lnTo>
                      <a:pt x="193084" y="111247"/>
                    </a:lnTo>
                    <a:cubicBezTo>
                      <a:pt x="195248" y="103772"/>
                      <a:pt x="195248" y="95804"/>
                      <a:pt x="195248" y="87837"/>
                    </a:cubicBezTo>
                    <a:cubicBezTo>
                      <a:pt x="195248" y="60197"/>
                      <a:pt x="165445" y="52230"/>
                      <a:pt x="140461" y="52230"/>
                    </a:cubicBezTo>
                    <a:cubicBezTo>
                      <a:pt x="109083" y="52230"/>
                      <a:pt x="78788" y="60197"/>
                      <a:pt x="50558" y="73476"/>
                    </a:cubicBezTo>
                    <a:lnTo>
                      <a:pt x="60689" y="16525"/>
                    </a:lnTo>
                    <a:cubicBezTo>
                      <a:pt x="90985" y="5902"/>
                      <a:pt x="121870" y="0"/>
                      <a:pt x="153838" y="0"/>
                    </a:cubicBezTo>
                    <a:cubicBezTo>
                      <a:pt x="208626" y="0"/>
                      <a:pt x="260266" y="20263"/>
                      <a:pt x="260266" y="84591"/>
                    </a:cubicBezTo>
                    <a:cubicBezTo>
                      <a:pt x="260266" y="121280"/>
                      <a:pt x="233118" y="228790"/>
                      <a:pt x="226724" y="280331"/>
                    </a:cubicBezTo>
                    <a:lnTo>
                      <a:pt x="166625" y="280331"/>
                    </a:lnTo>
                    <a:lnTo>
                      <a:pt x="174002" y="238429"/>
                    </a:lnTo>
                    <a:close/>
                    <a:moveTo>
                      <a:pt x="104264" y="234691"/>
                    </a:moveTo>
                    <a:cubicBezTo>
                      <a:pt x="157477" y="234691"/>
                      <a:pt x="174002" y="198002"/>
                      <a:pt x="185117" y="153838"/>
                    </a:cubicBezTo>
                    <a:lnTo>
                      <a:pt x="160133" y="153838"/>
                    </a:lnTo>
                    <a:cubicBezTo>
                      <a:pt x="125510" y="153838"/>
                      <a:pt x="68067" y="159641"/>
                      <a:pt x="68067" y="205970"/>
                    </a:cubicBezTo>
                    <a:cubicBezTo>
                      <a:pt x="68067" y="225052"/>
                      <a:pt x="86165" y="234691"/>
                      <a:pt x="104264" y="234691"/>
                    </a:cubicBez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22" name="フリーフォーム: 図形 21">
                <a:extLst>
                  <a:ext uri="{FF2B5EF4-FFF2-40B4-BE49-F238E27FC236}">
                    <a16:creationId xmlns:a16="http://schemas.microsoft.com/office/drawing/2014/main" id="{07BE1660-F8BB-46C6-9EDD-1A24626B8D0C}"/>
                  </a:ext>
                </a:extLst>
              </p:cNvPr>
              <p:cNvSpPr/>
              <p:nvPr/>
            </p:nvSpPr>
            <p:spPr>
              <a:xfrm>
                <a:off x="6475246" y="3304475"/>
                <a:ext cx="147543" cy="393447"/>
              </a:xfrm>
              <a:custGeom>
                <a:avLst/>
                <a:gdLst>
                  <a:gd name="connsiteX0" fmla="*/ 84591 w 147542"/>
                  <a:gd name="connsiteY0" fmla="*/ 0 h 393447"/>
                  <a:gd name="connsiteX1" fmla="*/ 155903 w 147542"/>
                  <a:gd name="connsiteY1" fmla="*/ 0 h 393447"/>
                  <a:gd name="connsiteX2" fmla="*/ 71312 w 147542"/>
                  <a:gd name="connsiteY2" fmla="*/ 399054 h 393447"/>
                  <a:gd name="connsiteX3" fmla="*/ 0 w 147542"/>
                  <a:gd name="connsiteY3" fmla="*/ 399054 h 393447"/>
                  <a:gd name="connsiteX4" fmla="*/ 84591 w 147542"/>
                  <a:gd name="connsiteY4" fmla="*/ 0 h 393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47542" h="393447">
                    <a:moveTo>
                      <a:pt x="84591" y="0"/>
                    </a:moveTo>
                    <a:lnTo>
                      <a:pt x="155903" y="0"/>
                    </a:lnTo>
                    <a:lnTo>
                      <a:pt x="71312" y="399054"/>
                    </a:lnTo>
                    <a:lnTo>
                      <a:pt x="0" y="399054"/>
                    </a:lnTo>
                    <a:lnTo>
                      <a:pt x="84591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23" name="フリーフォーム: 図形 22">
                <a:extLst>
                  <a:ext uri="{FF2B5EF4-FFF2-40B4-BE49-F238E27FC236}">
                    <a16:creationId xmlns:a16="http://schemas.microsoft.com/office/drawing/2014/main" id="{2702D0A4-25BF-43C3-9CB0-FB1872ED2C30}"/>
                  </a:ext>
                </a:extLst>
              </p:cNvPr>
              <p:cNvSpPr/>
              <p:nvPr/>
            </p:nvSpPr>
            <p:spPr>
              <a:xfrm>
                <a:off x="6616985" y="3429591"/>
                <a:ext cx="285249" cy="275413"/>
              </a:xfrm>
              <a:custGeom>
                <a:avLst/>
                <a:gdLst>
                  <a:gd name="connsiteX0" fmla="*/ 240003 w 285249"/>
                  <a:gd name="connsiteY0" fmla="*/ 234593 h 275413"/>
                  <a:gd name="connsiteX1" fmla="*/ 233117 w 285249"/>
                  <a:gd name="connsiteY1" fmla="*/ 273938 h 275413"/>
                  <a:gd name="connsiteX2" fmla="*/ 163379 w 285249"/>
                  <a:gd name="connsiteY2" fmla="*/ 273938 h 275413"/>
                  <a:gd name="connsiteX3" fmla="*/ 168199 w 285249"/>
                  <a:gd name="connsiteY3" fmla="*/ 247380 h 275413"/>
                  <a:gd name="connsiteX4" fmla="*/ 167117 w 285249"/>
                  <a:gd name="connsiteY4" fmla="*/ 247380 h 275413"/>
                  <a:gd name="connsiteX5" fmla="*/ 89411 w 285249"/>
                  <a:gd name="connsiteY5" fmla="*/ 280331 h 275413"/>
                  <a:gd name="connsiteX6" fmla="*/ 0 w 285249"/>
                  <a:gd name="connsiteY6" fmla="*/ 192592 h 275413"/>
                  <a:gd name="connsiteX7" fmla="*/ 9049 w 285249"/>
                  <a:gd name="connsiteY7" fmla="*/ 132985 h 275413"/>
                  <a:gd name="connsiteX8" fmla="*/ 37771 w 285249"/>
                  <a:gd name="connsiteY8" fmla="*/ 0 h 275413"/>
                  <a:gd name="connsiteX9" fmla="*/ 109083 w 285249"/>
                  <a:gd name="connsiteY9" fmla="*/ 0 h 275413"/>
                  <a:gd name="connsiteX10" fmla="*/ 82427 w 285249"/>
                  <a:gd name="connsiteY10" fmla="*/ 129247 h 275413"/>
                  <a:gd name="connsiteX11" fmla="*/ 74460 w 285249"/>
                  <a:gd name="connsiteY11" fmla="*/ 186691 h 275413"/>
                  <a:gd name="connsiteX12" fmla="*/ 113313 w 285249"/>
                  <a:gd name="connsiteY12" fmla="*/ 225052 h 275413"/>
                  <a:gd name="connsiteX13" fmla="*/ 189937 w 285249"/>
                  <a:gd name="connsiteY13" fmla="*/ 137805 h 275413"/>
                  <a:gd name="connsiteX14" fmla="*/ 219150 w 285249"/>
                  <a:gd name="connsiteY14" fmla="*/ 0 h 275413"/>
                  <a:gd name="connsiteX15" fmla="*/ 290463 w 285249"/>
                  <a:gd name="connsiteY15" fmla="*/ 0 h 275413"/>
                  <a:gd name="connsiteX16" fmla="*/ 240003 w 285249"/>
                  <a:gd name="connsiteY16" fmla="*/ 234593 h 2754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285249" h="275413">
                    <a:moveTo>
                      <a:pt x="240003" y="234593"/>
                    </a:moveTo>
                    <a:cubicBezTo>
                      <a:pt x="236757" y="251118"/>
                      <a:pt x="234101" y="265479"/>
                      <a:pt x="233117" y="273938"/>
                    </a:cubicBezTo>
                    <a:lnTo>
                      <a:pt x="163379" y="273938"/>
                    </a:lnTo>
                    <a:lnTo>
                      <a:pt x="168199" y="247380"/>
                    </a:lnTo>
                    <a:lnTo>
                      <a:pt x="167117" y="247380"/>
                    </a:lnTo>
                    <a:cubicBezTo>
                      <a:pt x="147444" y="265479"/>
                      <a:pt x="120296" y="280331"/>
                      <a:pt x="89411" y="280331"/>
                    </a:cubicBezTo>
                    <a:cubicBezTo>
                      <a:pt x="35705" y="280331"/>
                      <a:pt x="0" y="246790"/>
                      <a:pt x="0" y="192592"/>
                    </a:cubicBezTo>
                    <a:cubicBezTo>
                      <a:pt x="0" y="171838"/>
                      <a:pt x="5311" y="150002"/>
                      <a:pt x="9049" y="132985"/>
                    </a:cubicBezTo>
                    <a:lnTo>
                      <a:pt x="37771" y="0"/>
                    </a:lnTo>
                    <a:lnTo>
                      <a:pt x="109083" y="0"/>
                    </a:lnTo>
                    <a:lnTo>
                      <a:pt x="82427" y="129247"/>
                    </a:lnTo>
                    <a:cubicBezTo>
                      <a:pt x="78689" y="147838"/>
                      <a:pt x="74460" y="166527"/>
                      <a:pt x="74460" y="186691"/>
                    </a:cubicBezTo>
                    <a:cubicBezTo>
                      <a:pt x="74460" y="209609"/>
                      <a:pt x="90394" y="225052"/>
                      <a:pt x="113313" y="225052"/>
                    </a:cubicBezTo>
                    <a:cubicBezTo>
                      <a:pt x="162789" y="225052"/>
                      <a:pt x="180887" y="178724"/>
                      <a:pt x="189937" y="137805"/>
                    </a:cubicBezTo>
                    <a:lnTo>
                      <a:pt x="219150" y="0"/>
                    </a:lnTo>
                    <a:lnTo>
                      <a:pt x="290463" y="0"/>
                    </a:lnTo>
                    <a:lnTo>
                      <a:pt x="240003" y="234593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24" name="フリーフォーム: 図形 23">
                <a:extLst>
                  <a:ext uri="{FF2B5EF4-FFF2-40B4-BE49-F238E27FC236}">
                    <a16:creationId xmlns:a16="http://schemas.microsoft.com/office/drawing/2014/main" id="{730C1B2B-08E3-43D3-9855-0050195E8927}"/>
                  </a:ext>
                </a:extLst>
              </p:cNvPr>
              <p:cNvSpPr/>
              <p:nvPr/>
            </p:nvSpPr>
            <p:spPr>
              <a:xfrm>
                <a:off x="6909317" y="3423198"/>
                <a:ext cx="265577" cy="285249"/>
              </a:xfrm>
              <a:custGeom>
                <a:avLst/>
                <a:gdLst>
                  <a:gd name="connsiteX0" fmla="*/ 68066 w 265576"/>
                  <a:gd name="connsiteY0" fmla="*/ 165445 h 285249"/>
                  <a:gd name="connsiteX1" fmla="*/ 144100 w 265576"/>
                  <a:gd name="connsiteY1" fmla="*/ 234593 h 285249"/>
                  <a:gd name="connsiteX2" fmla="*/ 228199 w 265576"/>
                  <a:gd name="connsiteY2" fmla="*/ 214921 h 285249"/>
                  <a:gd name="connsiteX3" fmla="*/ 219150 w 265576"/>
                  <a:gd name="connsiteY3" fmla="*/ 271282 h 285249"/>
                  <a:gd name="connsiteX4" fmla="*/ 131903 w 265576"/>
                  <a:gd name="connsiteY4" fmla="*/ 286725 h 285249"/>
                  <a:gd name="connsiteX5" fmla="*/ 0 w 265576"/>
                  <a:gd name="connsiteY5" fmla="*/ 167018 h 285249"/>
                  <a:gd name="connsiteX6" fmla="*/ 155903 w 265576"/>
                  <a:gd name="connsiteY6" fmla="*/ 0 h 285249"/>
                  <a:gd name="connsiteX7" fmla="*/ 268134 w 265576"/>
                  <a:gd name="connsiteY7" fmla="*/ 104264 h 285249"/>
                  <a:gd name="connsiteX8" fmla="*/ 261249 w 265576"/>
                  <a:gd name="connsiteY8" fmla="*/ 165445 h 285249"/>
                  <a:gd name="connsiteX9" fmla="*/ 68066 w 265576"/>
                  <a:gd name="connsiteY9" fmla="*/ 165445 h 285249"/>
                  <a:gd name="connsiteX10" fmla="*/ 198396 w 265576"/>
                  <a:gd name="connsiteY10" fmla="*/ 116460 h 285249"/>
                  <a:gd name="connsiteX11" fmla="*/ 199969 w 265576"/>
                  <a:gd name="connsiteY11" fmla="*/ 97870 h 285249"/>
                  <a:gd name="connsiteX12" fmla="*/ 154723 w 265576"/>
                  <a:gd name="connsiteY12" fmla="*/ 52132 h 285249"/>
                  <a:gd name="connsiteX13" fmla="*/ 77607 w 265576"/>
                  <a:gd name="connsiteY13" fmla="*/ 116460 h 285249"/>
                  <a:gd name="connsiteX14" fmla="*/ 198396 w 265576"/>
                  <a:gd name="connsiteY14" fmla="*/ 116460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65576" h="285249">
                    <a:moveTo>
                      <a:pt x="68066" y="165445"/>
                    </a:moveTo>
                    <a:cubicBezTo>
                      <a:pt x="68066" y="216003"/>
                      <a:pt x="95214" y="234593"/>
                      <a:pt x="144100" y="234593"/>
                    </a:cubicBezTo>
                    <a:cubicBezTo>
                      <a:pt x="173314" y="234593"/>
                      <a:pt x="201543" y="227117"/>
                      <a:pt x="228199" y="214921"/>
                    </a:cubicBezTo>
                    <a:lnTo>
                      <a:pt x="219150" y="271282"/>
                    </a:lnTo>
                    <a:cubicBezTo>
                      <a:pt x="191510" y="279839"/>
                      <a:pt x="161116" y="286725"/>
                      <a:pt x="131903" y="286725"/>
                    </a:cubicBezTo>
                    <a:cubicBezTo>
                      <a:pt x="53115" y="286725"/>
                      <a:pt x="0" y="248462"/>
                      <a:pt x="0" y="167018"/>
                    </a:cubicBezTo>
                    <a:cubicBezTo>
                      <a:pt x="0" y="81935"/>
                      <a:pt x="66001" y="0"/>
                      <a:pt x="155903" y="0"/>
                    </a:cubicBezTo>
                    <a:cubicBezTo>
                      <a:pt x="223478" y="0"/>
                      <a:pt x="268134" y="34525"/>
                      <a:pt x="268134" y="104264"/>
                    </a:cubicBezTo>
                    <a:cubicBezTo>
                      <a:pt x="268134" y="125018"/>
                      <a:pt x="265479" y="145182"/>
                      <a:pt x="261249" y="165445"/>
                    </a:cubicBezTo>
                    <a:lnTo>
                      <a:pt x="68066" y="165445"/>
                    </a:lnTo>
                    <a:close/>
                    <a:moveTo>
                      <a:pt x="198396" y="116460"/>
                    </a:moveTo>
                    <a:cubicBezTo>
                      <a:pt x="199478" y="110067"/>
                      <a:pt x="199969" y="104264"/>
                      <a:pt x="199969" y="97870"/>
                    </a:cubicBezTo>
                    <a:cubicBezTo>
                      <a:pt x="199969" y="68657"/>
                      <a:pt x="184527" y="52132"/>
                      <a:pt x="154723" y="52132"/>
                    </a:cubicBezTo>
                    <a:cubicBezTo>
                      <a:pt x="110559" y="52132"/>
                      <a:pt x="91378" y="78689"/>
                      <a:pt x="77607" y="116460"/>
                    </a:cubicBezTo>
                    <a:lnTo>
                      <a:pt x="198396" y="11646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25" name="フリーフォーム: 図形 24">
                <a:extLst>
                  <a:ext uri="{FF2B5EF4-FFF2-40B4-BE49-F238E27FC236}">
                    <a16:creationId xmlns:a16="http://schemas.microsoft.com/office/drawing/2014/main" id="{13695E41-F056-4418-8A95-E027A1CA09C5}"/>
                  </a:ext>
                </a:extLst>
              </p:cNvPr>
              <p:cNvSpPr/>
              <p:nvPr/>
            </p:nvSpPr>
            <p:spPr>
              <a:xfrm>
                <a:off x="7171648" y="3423001"/>
                <a:ext cx="236068" cy="285249"/>
              </a:xfrm>
              <a:custGeom>
                <a:avLst/>
                <a:gdLst>
                  <a:gd name="connsiteX0" fmla="*/ 220822 w 236068"/>
                  <a:gd name="connsiteY0" fmla="*/ 65017 h 285249"/>
                  <a:gd name="connsiteX1" fmla="*/ 162297 w 236068"/>
                  <a:gd name="connsiteY1" fmla="*/ 52230 h 285249"/>
                  <a:gd name="connsiteX2" fmla="*/ 114395 w 236068"/>
                  <a:gd name="connsiteY2" fmla="*/ 79870 h 285249"/>
                  <a:gd name="connsiteX3" fmla="*/ 206953 w 236068"/>
                  <a:gd name="connsiteY3" fmla="*/ 194265 h 285249"/>
                  <a:gd name="connsiteX4" fmla="*/ 83509 w 236068"/>
                  <a:gd name="connsiteY4" fmla="*/ 286823 h 285249"/>
                  <a:gd name="connsiteX5" fmla="*/ 0 w 236068"/>
                  <a:gd name="connsiteY5" fmla="*/ 270298 h 285249"/>
                  <a:gd name="connsiteX6" fmla="*/ 15443 w 236068"/>
                  <a:gd name="connsiteY6" fmla="*/ 213347 h 285249"/>
                  <a:gd name="connsiteX7" fmla="*/ 83509 w 236068"/>
                  <a:gd name="connsiteY7" fmla="*/ 234593 h 285249"/>
                  <a:gd name="connsiteX8" fmla="*/ 132494 w 236068"/>
                  <a:gd name="connsiteY8" fmla="*/ 204298 h 285249"/>
                  <a:gd name="connsiteX9" fmla="*/ 39935 w 236068"/>
                  <a:gd name="connsiteY9" fmla="*/ 87247 h 285249"/>
                  <a:gd name="connsiteX10" fmla="*/ 158559 w 236068"/>
                  <a:gd name="connsiteY10" fmla="*/ 0 h 285249"/>
                  <a:gd name="connsiteX11" fmla="*/ 236265 w 236068"/>
                  <a:gd name="connsiteY11" fmla="*/ 11213 h 285249"/>
                  <a:gd name="connsiteX12" fmla="*/ 220822 w 236068"/>
                  <a:gd name="connsiteY12" fmla="*/ 65017 h 28524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236068" h="285249">
                    <a:moveTo>
                      <a:pt x="220822" y="65017"/>
                    </a:moveTo>
                    <a:cubicBezTo>
                      <a:pt x="202232" y="58132"/>
                      <a:pt x="182560" y="52230"/>
                      <a:pt x="162297" y="52230"/>
                    </a:cubicBezTo>
                    <a:cubicBezTo>
                      <a:pt x="141051" y="52230"/>
                      <a:pt x="114395" y="58033"/>
                      <a:pt x="114395" y="79870"/>
                    </a:cubicBezTo>
                    <a:cubicBezTo>
                      <a:pt x="114395" y="114493"/>
                      <a:pt x="206953" y="127280"/>
                      <a:pt x="206953" y="194265"/>
                    </a:cubicBezTo>
                    <a:cubicBezTo>
                      <a:pt x="206953" y="265577"/>
                      <a:pt x="144690" y="286823"/>
                      <a:pt x="83509" y="286823"/>
                    </a:cubicBezTo>
                    <a:cubicBezTo>
                      <a:pt x="54788" y="286823"/>
                      <a:pt x="26066" y="282594"/>
                      <a:pt x="0" y="270298"/>
                    </a:cubicBezTo>
                    <a:lnTo>
                      <a:pt x="15443" y="213347"/>
                    </a:lnTo>
                    <a:cubicBezTo>
                      <a:pt x="35705" y="224560"/>
                      <a:pt x="55869" y="234593"/>
                      <a:pt x="83509" y="234593"/>
                    </a:cubicBezTo>
                    <a:cubicBezTo>
                      <a:pt x="107411" y="234593"/>
                      <a:pt x="132494" y="226626"/>
                      <a:pt x="132494" y="204298"/>
                    </a:cubicBezTo>
                    <a:cubicBezTo>
                      <a:pt x="132494" y="160133"/>
                      <a:pt x="39935" y="155903"/>
                      <a:pt x="39935" y="87247"/>
                    </a:cubicBezTo>
                    <a:cubicBezTo>
                      <a:pt x="39935" y="22820"/>
                      <a:pt x="102198" y="0"/>
                      <a:pt x="158559" y="0"/>
                    </a:cubicBezTo>
                    <a:cubicBezTo>
                      <a:pt x="184625" y="0"/>
                      <a:pt x="211281" y="4820"/>
                      <a:pt x="236265" y="11213"/>
                    </a:cubicBezTo>
                    <a:lnTo>
                      <a:pt x="220822" y="65017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  <p:sp>
            <p:nvSpPr>
              <p:cNvPr id="26" name="フリーフォーム: 図形 25">
                <a:extLst>
                  <a:ext uri="{FF2B5EF4-FFF2-40B4-BE49-F238E27FC236}">
                    <a16:creationId xmlns:a16="http://schemas.microsoft.com/office/drawing/2014/main" id="{073ED6EC-F720-4C25-B5A6-F3D29F41A541}"/>
                  </a:ext>
                </a:extLst>
              </p:cNvPr>
              <p:cNvSpPr/>
              <p:nvPr/>
            </p:nvSpPr>
            <p:spPr>
              <a:xfrm>
                <a:off x="7407519" y="3332213"/>
                <a:ext cx="147543" cy="363939"/>
              </a:xfrm>
              <a:custGeom>
                <a:avLst/>
                <a:gdLst>
                  <a:gd name="connsiteX0" fmla="*/ 89903 w 147542"/>
                  <a:gd name="connsiteY0" fmla="*/ 296856 h 363938"/>
                  <a:gd name="connsiteX1" fmla="*/ 74460 w 147542"/>
                  <a:gd name="connsiteY1" fmla="*/ 371316 h 363938"/>
                  <a:gd name="connsiteX2" fmla="*/ 0 w 147542"/>
                  <a:gd name="connsiteY2" fmla="*/ 371316 h 363938"/>
                  <a:gd name="connsiteX3" fmla="*/ 15443 w 147542"/>
                  <a:gd name="connsiteY3" fmla="*/ 296856 h 363938"/>
                  <a:gd name="connsiteX4" fmla="*/ 89903 w 147542"/>
                  <a:gd name="connsiteY4" fmla="*/ 296856 h 363938"/>
                  <a:gd name="connsiteX5" fmla="*/ 72296 w 147542"/>
                  <a:gd name="connsiteY5" fmla="*/ 0 h 363938"/>
                  <a:gd name="connsiteX6" fmla="*/ 155805 w 147542"/>
                  <a:gd name="connsiteY6" fmla="*/ 0 h 363938"/>
                  <a:gd name="connsiteX7" fmla="*/ 88821 w 147542"/>
                  <a:gd name="connsiteY7" fmla="*/ 262331 h 363938"/>
                  <a:gd name="connsiteX8" fmla="*/ 29804 w 147542"/>
                  <a:gd name="connsiteY8" fmla="*/ 262331 h 363938"/>
                  <a:gd name="connsiteX9" fmla="*/ 72296 w 147542"/>
                  <a:gd name="connsiteY9" fmla="*/ 0 h 3639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47542" h="363938">
                    <a:moveTo>
                      <a:pt x="89903" y="296856"/>
                    </a:moveTo>
                    <a:lnTo>
                      <a:pt x="74460" y="371316"/>
                    </a:lnTo>
                    <a:lnTo>
                      <a:pt x="0" y="371316"/>
                    </a:lnTo>
                    <a:lnTo>
                      <a:pt x="15443" y="296856"/>
                    </a:lnTo>
                    <a:lnTo>
                      <a:pt x="89903" y="296856"/>
                    </a:lnTo>
                    <a:close/>
                    <a:moveTo>
                      <a:pt x="72296" y="0"/>
                    </a:moveTo>
                    <a:lnTo>
                      <a:pt x="155805" y="0"/>
                    </a:lnTo>
                    <a:lnTo>
                      <a:pt x="88821" y="262331"/>
                    </a:lnTo>
                    <a:lnTo>
                      <a:pt x="29804" y="262331"/>
                    </a:lnTo>
                    <a:lnTo>
                      <a:pt x="72296" y="0"/>
                    </a:lnTo>
                    <a:close/>
                  </a:path>
                </a:pathLst>
              </a:custGeom>
              <a:grpFill/>
              <a:ln w="982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ja-JP" altLang="en-US"/>
              </a:p>
            </p:txBody>
          </p:sp>
        </p:grpSp>
        <p:sp>
          <p:nvSpPr>
            <p:cNvPr id="5" name="フリーフォーム: 図形 4">
              <a:extLst>
                <a:ext uri="{FF2B5EF4-FFF2-40B4-BE49-F238E27FC236}">
                  <a16:creationId xmlns:a16="http://schemas.microsoft.com/office/drawing/2014/main" id="{102D2F69-8ACD-4B11-B61B-379496E4A1EA}"/>
                </a:ext>
              </a:extLst>
            </p:cNvPr>
            <p:cNvSpPr/>
            <p:nvPr/>
          </p:nvSpPr>
          <p:spPr>
            <a:xfrm>
              <a:off x="5120803" y="2676566"/>
              <a:ext cx="2616425" cy="590171"/>
            </a:xfrm>
            <a:custGeom>
              <a:avLst/>
              <a:gdLst>
                <a:gd name="connsiteX0" fmla="*/ 0 w 2616424"/>
                <a:gd name="connsiteY0" fmla="*/ 596237 h 590170"/>
                <a:gd name="connsiteX1" fmla="*/ 2620064 w 2616424"/>
                <a:gd name="connsiteY1" fmla="*/ 53870 h 590170"/>
                <a:gd name="connsiteX2" fmla="*/ 2507145 w 2616424"/>
                <a:gd name="connsiteY2" fmla="*/ 410136 h 590170"/>
                <a:gd name="connsiteX3" fmla="*/ 0 w 2616424"/>
                <a:gd name="connsiteY3" fmla="*/ 596237 h 5901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16424" h="590170">
                  <a:moveTo>
                    <a:pt x="0" y="596237"/>
                  </a:moveTo>
                  <a:cubicBezTo>
                    <a:pt x="779419" y="-30230"/>
                    <a:pt x="1817432" y="-64460"/>
                    <a:pt x="2620064" y="53870"/>
                  </a:cubicBezTo>
                  <a:lnTo>
                    <a:pt x="2507145" y="410136"/>
                  </a:lnTo>
                  <a:cubicBezTo>
                    <a:pt x="1952581" y="214986"/>
                    <a:pt x="882896" y="95870"/>
                    <a:pt x="0" y="596237"/>
                  </a:cubicBezTo>
                  <a:close/>
                </a:path>
              </a:pathLst>
            </a:custGeom>
            <a:gradFill>
              <a:gsLst>
                <a:gs pos="25000">
                  <a:srgbClr val="005BAC"/>
                </a:gs>
                <a:gs pos="100000">
                  <a:srgbClr val="EA5B02"/>
                </a:gs>
                <a:gs pos="52000">
                  <a:srgbClr val="E50059"/>
                </a:gs>
              </a:gsLst>
              <a:lin ang="0" scaled="1"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/>
            </a:p>
          </p:txBody>
        </p:sp>
        <p:sp>
          <p:nvSpPr>
            <p:cNvPr id="7" name="フリーフォーム: 図形 6">
              <a:extLst>
                <a:ext uri="{FF2B5EF4-FFF2-40B4-BE49-F238E27FC236}">
                  <a16:creationId xmlns:a16="http://schemas.microsoft.com/office/drawing/2014/main" id="{6A5E6269-C8BC-4716-A64D-FCB32E328BC6}"/>
                </a:ext>
              </a:extLst>
            </p:cNvPr>
            <p:cNvSpPr/>
            <p:nvPr/>
          </p:nvSpPr>
          <p:spPr>
            <a:xfrm>
              <a:off x="2164440" y="3771103"/>
              <a:ext cx="2419701" cy="413120"/>
            </a:xfrm>
            <a:custGeom>
              <a:avLst/>
              <a:gdLst>
                <a:gd name="connsiteX0" fmla="*/ 2429046 w 2419701"/>
                <a:gd name="connsiteY0" fmla="*/ 0 h 413119"/>
                <a:gd name="connsiteX1" fmla="*/ 0 w 2419701"/>
                <a:gd name="connsiteY1" fmla="*/ 350168 h 413119"/>
                <a:gd name="connsiteX2" fmla="*/ 119018 w 2419701"/>
                <a:gd name="connsiteY2" fmla="*/ 67870 h 413119"/>
                <a:gd name="connsiteX3" fmla="*/ 2429046 w 2419701"/>
                <a:gd name="connsiteY3" fmla="*/ 0 h 4131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419701" h="413119">
                  <a:moveTo>
                    <a:pt x="2429046" y="0"/>
                  </a:moveTo>
                  <a:cubicBezTo>
                    <a:pt x="1971368" y="313971"/>
                    <a:pt x="990405" y="527908"/>
                    <a:pt x="0" y="350168"/>
                  </a:cubicBezTo>
                  <a:lnTo>
                    <a:pt x="119018" y="67870"/>
                  </a:lnTo>
                  <a:cubicBezTo>
                    <a:pt x="1087882" y="292528"/>
                    <a:pt x="1996057" y="174887"/>
                    <a:pt x="2429046" y="0"/>
                  </a:cubicBezTo>
                  <a:close/>
                </a:path>
              </a:pathLst>
            </a:custGeom>
            <a:gradFill flip="none" rotWithShape="1">
              <a:gsLst>
                <a:gs pos="0">
                  <a:srgbClr val="009EE7"/>
                </a:gs>
                <a:gs pos="47000">
                  <a:srgbClr val="005BAC"/>
                </a:gs>
              </a:gsLst>
              <a:lin ang="0" scaled="1"/>
              <a:tileRect/>
            </a:gradFill>
            <a:ln w="982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41155992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標準（スペース大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9459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スライド" r:id="rId5" imgW="270" imgH="270" progId="TCLayout.ActiveDocument.1">
                  <p:embed/>
                </p:oleObj>
              </mc:Choice>
              <mc:Fallback>
                <p:oleObj name="think-cell スライド" r:id="rId5" imgW="270" imgH="270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ja-JP" altLang="en-US" sz="1400" b="0" i="0" baseline="0" dirty="0">
              <a:solidFill>
                <a:srgbClr val="000000"/>
              </a:solidFill>
              <a:latin typeface="Arial Unicode MS" panose="020B0604020202020204" pitchFamily="50" charset="-128"/>
              <a:ea typeface="Meiryo UI" panose="020B0604030504040204" pitchFamily="50" charset="-128"/>
              <a:cs typeface="+mj-cs"/>
              <a:sym typeface="Arial Unicode MS" panose="020B0604020202020204" pitchFamily="50" charset="-128"/>
            </a:endParaRPr>
          </a:p>
        </p:txBody>
      </p:sp>
      <p:sp>
        <p:nvSpPr>
          <p:cNvPr id="4" name="Line 26"/>
          <p:cNvSpPr>
            <a:spLocks noChangeShapeType="1"/>
          </p:cNvSpPr>
          <p:nvPr userDrawn="1"/>
        </p:nvSpPr>
        <p:spPr bwMode="auto">
          <a:xfrm>
            <a:off x="200471" y="980728"/>
            <a:ext cx="9505503" cy="0"/>
          </a:xfrm>
          <a:prstGeom prst="line">
            <a:avLst/>
          </a:prstGeom>
          <a:noFill/>
          <a:ln w="3175">
            <a:solidFill>
              <a:schemeClr val="bg2"/>
            </a:solidFill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ja-JP" altLang="en-US" dirty="0">
              <a:solidFill>
                <a:prstClr val="black"/>
              </a:solidFill>
            </a:endParaRPr>
          </a:p>
        </p:txBody>
      </p:sp>
      <p:sp>
        <p:nvSpPr>
          <p:cNvPr id="9" name="テキスト ボックス 8"/>
          <p:cNvSpPr txBox="1"/>
          <p:nvPr userDrawn="1"/>
        </p:nvSpPr>
        <p:spPr>
          <a:xfrm>
            <a:off x="8913440" y="6581001"/>
            <a:ext cx="720080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r"/>
            <a:fld id="{6DD9FF53-5E75-4890-BA22-699EFFF134BB}" type="slidenum">
              <a:rPr lang="ja-JP" altLang="en-US" sz="1200">
                <a:solidFill>
                  <a:prstClr val="black"/>
                </a:solidFill>
              </a:rPr>
              <a:pPr algn="r"/>
              <a:t>‹#›</a:t>
            </a:fld>
            <a:endParaRPr lang="ja-JP" altLang="en-US" sz="1200" dirty="0">
              <a:solidFill>
                <a:prstClr val="black"/>
              </a:solidFill>
            </a:endParaRPr>
          </a:p>
        </p:txBody>
      </p:sp>
      <p:sp>
        <p:nvSpPr>
          <p:cNvPr id="11" name="タイトル 7"/>
          <p:cNvSpPr>
            <a:spLocks noGrp="1"/>
          </p:cNvSpPr>
          <p:nvPr>
            <p:ph type="title"/>
          </p:nvPr>
        </p:nvSpPr>
        <p:spPr>
          <a:xfrm>
            <a:off x="200471" y="188550"/>
            <a:ext cx="9505055" cy="360050"/>
          </a:xfrm>
        </p:spPr>
        <p:txBody>
          <a:bodyPr>
            <a:normAutofit/>
          </a:bodyPr>
          <a:lstStyle>
            <a:lvl1pPr>
              <a:defRPr sz="1400" baseline="0">
                <a:latin typeface="Arial Unicode MS" panose="020B0604020202020204" pitchFamily="50" charset="-128"/>
                <a:ea typeface="Meiryo UI" panose="020B0604030504040204" pitchFamily="50" charset="-128"/>
              </a:defRPr>
            </a:lvl1pPr>
          </a:lstStyle>
          <a:p>
            <a:r>
              <a:rPr kumimoji="1" lang="ja-JP" altLang="en-US" dirty="0"/>
              <a:t>マスタ タイトルの書式設定</a:t>
            </a:r>
          </a:p>
        </p:txBody>
      </p:sp>
      <p:sp>
        <p:nvSpPr>
          <p:cNvPr id="12" name="テキスト プレースホルダー 12"/>
          <p:cNvSpPr>
            <a:spLocks noGrp="1"/>
          </p:cNvSpPr>
          <p:nvPr>
            <p:ph type="body" sz="quarter" idx="15"/>
          </p:nvPr>
        </p:nvSpPr>
        <p:spPr>
          <a:xfrm>
            <a:off x="200025" y="549275"/>
            <a:ext cx="9505950" cy="359445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None/>
              <a:defRPr sz="2000" b="1">
                <a:solidFill>
                  <a:schemeClr val="accent1"/>
                </a:solidFill>
                <a:latin typeface="+mn-ea"/>
                <a:ea typeface="+mn-ea"/>
              </a:defRPr>
            </a:lvl1pPr>
            <a:lvl2pPr marL="377825" indent="0">
              <a:spcBef>
                <a:spcPts val="0"/>
              </a:spcBef>
              <a:buNone/>
              <a:defRPr sz="20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2pPr>
            <a:lvl3pPr marL="755650" indent="0">
              <a:spcBef>
                <a:spcPts val="0"/>
              </a:spcBef>
              <a:buNone/>
              <a:defRPr sz="20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3pPr>
            <a:lvl4pPr marL="1143000" indent="0">
              <a:spcBef>
                <a:spcPts val="0"/>
              </a:spcBef>
              <a:buNone/>
              <a:defRPr sz="20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4pPr>
            <a:lvl5pPr marL="1525587" indent="0">
              <a:spcBef>
                <a:spcPts val="0"/>
              </a:spcBef>
              <a:buNone/>
              <a:defRPr sz="2000">
                <a:latin typeface="HGP創英角ｺﾞｼｯｸUB" panose="020B0900000000000000" pitchFamily="50" charset="-128"/>
                <a:ea typeface="HGP創英角ｺﾞｼｯｸUB" panose="020B0900000000000000" pitchFamily="50" charset="-128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  <p:sp>
        <p:nvSpPr>
          <p:cNvPr id="13" name="テキスト プレースホルダ 20"/>
          <p:cNvSpPr>
            <a:spLocks noGrp="1"/>
          </p:cNvSpPr>
          <p:nvPr>
            <p:ph type="body" sz="quarter" idx="16"/>
          </p:nvPr>
        </p:nvSpPr>
        <p:spPr>
          <a:xfrm>
            <a:off x="199710" y="1126925"/>
            <a:ext cx="9505950" cy="5327871"/>
          </a:xfrm>
          <a:prstGeom prst="rect">
            <a:avLst/>
          </a:prstGeom>
        </p:spPr>
        <p:txBody>
          <a:bodyPr/>
          <a:lstStyle>
            <a:lvl1pPr>
              <a:defRPr sz="1400" baseline="0">
                <a:latin typeface="Arial Unicode MS" panose="020B060402020202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1pPr>
            <a:lvl2pPr>
              <a:defRPr sz="1400" baseline="0">
                <a:latin typeface="Arial Unicode MS" panose="020B060402020202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2pPr>
            <a:lvl3pPr>
              <a:defRPr sz="1400" baseline="0">
                <a:latin typeface="Arial Unicode MS" panose="020B060402020202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3pPr>
            <a:lvl4pPr>
              <a:defRPr sz="1200" baseline="0">
                <a:latin typeface="Arial Unicode MS" panose="020B060402020202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4pPr>
            <a:lvl5pPr>
              <a:defRPr sz="1200" baseline="0">
                <a:latin typeface="Arial Unicode MS" panose="020B0604020202020204" pitchFamily="50" charset="-128"/>
                <a:ea typeface="Meiryo UI" panose="020B0604030504040204" pitchFamily="50" charset="-128"/>
                <a:cs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 dirty="0"/>
              <a:t>マスタ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2519204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中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02427" y="1120655"/>
            <a:ext cx="6901149" cy="5135766"/>
          </a:xfrm>
        </p:spPr>
        <p:txBody>
          <a:bodyPr>
            <a:noAutofit/>
          </a:bodyPr>
          <a:lstStyle>
            <a:lvl1pPr marL="342900" indent="-342900" algn="l">
              <a:lnSpc>
                <a:spcPct val="110000"/>
              </a:lnSpc>
              <a:spcBef>
                <a:spcPts val="600"/>
              </a:spcBef>
              <a:buClr>
                <a:srgbClr val="000F78"/>
              </a:buClr>
              <a:buFont typeface="+mj-lt"/>
              <a:buAutoNum type="arabicPeriod"/>
              <a:tabLst>
                <a:tab pos="6454775" algn="r"/>
                <a:tab pos="6726238" algn="r"/>
                <a:tab pos="6907213" algn="r"/>
              </a:tabLst>
              <a:defRPr sz="1600" b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517525" indent="0" algn="l">
              <a:spcBef>
                <a:spcPts val="0"/>
              </a:spcBef>
              <a:spcAft>
                <a:spcPts val="300"/>
              </a:spcAft>
              <a:buFont typeface="+mj-lt"/>
              <a:buNone/>
              <a:tabLst>
                <a:tab pos="6454775" algn="r"/>
                <a:tab pos="6726238" algn="r"/>
                <a:tab pos="6907213" algn="r"/>
              </a:tabLst>
              <a:defRPr kumimoji="1" lang="en-US" altLang="ja-JP" sz="1400" kern="12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74725" indent="-17145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3pPr>
            <a:lvl4pPr marL="1027113" indent="0"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4pPr>
            <a:lvl5pPr marL="1295400" indent="0">
              <a:buFont typeface="システムフォント"/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5" name="タイトル 4">
            <a:extLst>
              <a:ext uri="{FF2B5EF4-FFF2-40B4-BE49-F238E27FC236}">
                <a16:creationId xmlns:a16="http://schemas.microsoft.com/office/drawing/2014/main" id="{8204379D-C656-4DFC-9A29-E952D48D05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000" y="259200"/>
            <a:ext cx="9504000" cy="380480"/>
          </a:xfrm>
        </p:spPr>
        <p:txBody>
          <a:bodyPr/>
          <a:lstStyle/>
          <a:p>
            <a:r>
              <a:rPr kumimoji="1" lang="ja-JP" altLang="en-US" dirty="0"/>
              <a:t>目次タイトルを入力</a:t>
            </a:r>
          </a:p>
        </p:txBody>
      </p:sp>
    </p:spTree>
    <p:extLst>
      <p:ext uri="{BB962C8B-B14F-4D97-AF65-F5344CB8AC3E}">
        <p14:creationId xmlns:p14="http://schemas.microsoft.com/office/powerpoint/2010/main" val="931778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297" userDrawn="1">
          <p15:clr>
            <a:srgbClr val="FBAE40"/>
          </p15:clr>
        </p15:guide>
        <p15:guide id="2" pos="943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目次（多/二段組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16496" y="1120655"/>
            <a:ext cx="9073012" cy="5135766"/>
          </a:xfrm>
        </p:spPr>
        <p:txBody>
          <a:bodyPr rIns="0" numCol="2" spcCol="360000">
            <a:noAutofit/>
          </a:bodyPr>
          <a:lstStyle>
            <a:lvl1pPr marL="271463" indent="-271463" algn="l">
              <a:lnSpc>
                <a:spcPct val="110000"/>
              </a:lnSpc>
              <a:spcBef>
                <a:spcPts val="600"/>
              </a:spcBef>
              <a:buClr>
                <a:srgbClr val="000F78"/>
              </a:buClr>
              <a:buFont typeface="+mj-lt"/>
              <a:buAutoNum type="arabicPeriod"/>
              <a:tabLst>
                <a:tab pos="3946525" algn="r"/>
                <a:tab pos="4219575" algn="r"/>
                <a:tab pos="4391025" algn="r"/>
                <a:tab pos="4486275" algn="r"/>
                <a:tab pos="6461125" algn="r"/>
                <a:tab pos="6815138" algn="r"/>
              </a:tabLst>
              <a:defRPr sz="1400" b="0">
                <a:latin typeface="Yu Gothic UI" panose="020B0500000000000000" pitchFamily="50" charset="-128"/>
                <a:ea typeface="Yu Gothic UI" panose="020B0500000000000000" pitchFamily="50" charset="-128"/>
              </a:defRPr>
            </a:lvl1pPr>
            <a:lvl2pPr marL="517525" indent="0" algn="l">
              <a:spcBef>
                <a:spcPts val="0"/>
              </a:spcBef>
              <a:spcAft>
                <a:spcPts val="300"/>
              </a:spcAft>
              <a:buFont typeface="+mj-lt"/>
              <a:buNone/>
              <a:tabLst>
                <a:tab pos="3946525" algn="r"/>
                <a:tab pos="4219575" algn="r"/>
                <a:tab pos="4391025" algn="r"/>
                <a:tab pos="4486275" algn="r"/>
                <a:tab pos="6461125" algn="r"/>
                <a:tab pos="6815138" algn="r"/>
              </a:tabLst>
              <a:defRPr kumimoji="1" lang="en-US" altLang="ja-JP" sz="1200" kern="1200" dirty="0">
                <a:solidFill>
                  <a:schemeClr val="tx1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2pPr>
            <a:lvl3pPr marL="974725" indent="-171450" algn="l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3946525" algn="r"/>
                <a:tab pos="4219575" algn="r"/>
                <a:tab pos="4391025" algn="r"/>
              </a:tabLst>
              <a:defRPr sz="1200">
                <a:latin typeface="Yu Gothic UI" panose="020B0500000000000000" pitchFamily="50" charset="-128"/>
                <a:ea typeface="Yu Gothic UI" panose="020B0500000000000000" pitchFamily="50" charset="-128"/>
              </a:defRPr>
            </a:lvl3pPr>
            <a:lvl4pPr marL="1027113" indent="0"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4pPr>
            <a:lvl5pPr marL="1295400" indent="0">
              <a:buFont typeface="システムフォント"/>
              <a:buNone/>
              <a:tabLst/>
              <a:defRPr>
                <a:latin typeface="Yu Gothic UI" panose="020B0500000000000000" pitchFamily="50" charset="-128"/>
                <a:ea typeface="Yu Gothic UI" panose="020B0500000000000000" pitchFamily="50" charset="-128"/>
              </a:defRPr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</p:txBody>
      </p:sp>
      <p:sp>
        <p:nvSpPr>
          <p:cNvPr id="4" name="タイトル 3">
            <a:extLst>
              <a:ext uri="{FF2B5EF4-FFF2-40B4-BE49-F238E27FC236}">
                <a16:creationId xmlns:a16="http://schemas.microsoft.com/office/drawing/2014/main" id="{428C50A7-B2DD-41D0-8891-C4838ACDA6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 dirty="0"/>
              <a:t>目次タイトルを入力</a:t>
            </a:r>
          </a:p>
        </p:txBody>
      </p:sp>
    </p:spTree>
    <p:extLst>
      <p:ext uri="{BB962C8B-B14F-4D97-AF65-F5344CB8AC3E}">
        <p14:creationId xmlns:p14="http://schemas.microsoft.com/office/powerpoint/2010/main" val="1891074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中表紙">
    <p:bg>
      <p:bgPr>
        <a:solidFill>
          <a:srgbClr val="E4ECED">
            <a:alpha val="5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0E672AA5-A66E-6F4D-9869-6CC6740B5B1C}"/>
              </a:ext>
            </a:extLst>
          </p:cNvPr>
          <p:cNvCxnSpPr>
            <a:cxnSpLocks/>
          </p:cNvCxnSpPr>
          <p:nvPr userDrawn="1"/>
        </p:nvCxnSpPr>
        <p:spPr>
          <a:xfrm>
            <a:off x="0" y="3564000"/>
            <a:ext cx="9906000" cy="0"/>
          </a:xfrm>
          <a:prstGeom prst="line">
            <a:avLst/>
          </a:prstGeom>
          <a:ln w="3175">
            <a:solidFill>
              <a:srgbClr val="000F7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タイトル 1">
            <a:extLst>
              <a:ext uri="{FF2B5EF4-FFF2-40B4-BE49-F238E27FC236}">
                <a16:creationId xmlns:a16="http://schemas.microsoft.com/office/drawing/2014/main" id="{C6C67CC5-5ED1-405E-80A7-6ACF6F8FC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0025" y="3060000"/>
            <a:ext cx="9504000" cy="504000"/>
          </a:xfrm>
          <a:noFill/>
        </p:spPr>
        <p:txBody>
          <a:bodyPr vert="horz" wrap="square" lIns="0" tIns="0" rIns="0" bIns="144000" rtlCol="0" anchor="b">
            <a:noAutofit/>
          </a:bodyPr>
          <a:lstStyle>
            <a:lvl1pPr marL="0" indent="0" algn="ctr">
              <a:spcBef>
                <a:spcPts val="0"/>
              </a:spcBef>
              <a:buFontTx/>
              <a:buNone/>
              <a:tabLst>
                <a:tab pos="90488" algn="l"/>
              </a:tabLst>
              <a:defRPr lang="ja-JP" altLang="en-US" sz="240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n-cs"/>
              </a:defRPr>
            </a:lvl1pPr>
          </a:lstStyle>
          <a:p>
            <a:pPr marL="0" indent="0">
              <a:spcBef>
                <a:spcPts val="0"/>
              </a:spcBef>
              <a:buFontTx/>
              <a:buNone/>
            </a:pPr>
            <a:r>
              <a:rPr lang="ja-JP" altLang="en-US"/>
              <a:t>マスター タイトルの書式設定</a:t>
            </a:r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505756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17697E7-3F46-4BBA-A911-DBD857A6FC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en-US" altLang="ja-JP" dirty="0"/>
              <a:t>1</a:t>
            </a:r>
            <a:r>
              <a:rPr kumimoji="1" lang="ja-JP" altLang="en-US" dirty="0"/>
              <a:t>行レイアウト 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</p:spTree>
    <p:extLst>
      <p:ext uri="{BB962C8B-B14F-4D97-AF65-F5344CB8AC3E}">
        <p14:creationId xmlns:p14="http://schemas.microsoft.com/office/powerpoint/2010/main" val="8463327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7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1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D0203BCC-19FC-5B4A-93BF-A71050BFB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975" y="259239"/>
            <a:ext cx="9504000" cy="671292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vert="horz" lIns="144000" tIns="324000" rIns="0" bIns="36000" rtlCol="0" anchor="t" anchorCtr="0">
            <a:spAutoFit/>
          </a:bodyPr>
          <a:lstStyle>
            <a:lvl1pPr marL="0" indent="0" fontAlgn="ctr" hangingPunct="1">
              <a:spcBef>
                <a:spcPts val="0"/>
              </a:spcBef>
              <a:buNone/>
              <a:defRPr lang="ja-JP" altLang="en-US" sz="2000" b="1" i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en-US" altLang="ja-JP" dirty="0"/>
              <a:t>1</a:t>
            </a:r>
            <a:r>
              <a:rPr kumimoji="1" lang="ja-JP" altLang="en-US" dirty="0"/>
              <a:t>行レイアウト 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54CBF31-B862-1841-BB17-2F937916D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75" y="259238"/>
            <a:ext cx="9504000" cy="288373"/>
          </a:xfrm>
          <a:noFill/>
        </p:spPr>
        <p:txBody>
          <a:bodyPr tIns="46800" bIns="36000" anchor="b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kumimoji="1" lang="ja-JP" altLang="en-US" dirty="0"/>
              <a:t>章タイトル</a:t>
            </a:r>
            <a:r>
              <a:rPr kumimoji="1" lang="en-US" altLang="ja-JP" dirty="0"/>
              <a:t>/</a:t>
            </a:r>
            <a:r>
              <a:rPr kumimoji="1" lang="ja-JP" altLang="en-US" dirty="0"/>
              <a:t>スライドタイトルを入力</a:t>
            </a:r>
          </a:p>
        </p:txBody>
      </p:sp>
    </p:spTree>
    <p:extLst>
      <p:ext uri="{BB962C8B-B14F-4D97-AF65-F5344CB8AC3E}">
        <p14:creationId xmlns:p14="http://schemas.microsoft.com/office/powerpoint/2010/main" val="384489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3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1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D0203BCC-19FC-5B4A-93BF-A71050BFB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975" y="259239"/>
            <a:ext cx="9504000" cy="671292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vert="horz" lIns="144000" tIns="324000" rIns="0" bIns="36000" rtlCol="0" anchor="t" anchorCtr="0">
            <a:spAutoFit/>
          </a:bodyPr>
          <a:lstStyle>
            <a:lvl1pPr marL="0" indent="0" fontAlgn="ctr">
              <a:spcBef>
                <a:spcPts val="0"/>
              </a:spcBef>
              <a:buNone/>
              <a:defRPr lang="ja-JP" altLang="en-US" sz="2000" b="1" i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en-US" altLang="ja-JP" dirty="0"/>
              <a:t>1</a:t>
            </a:r>
            <a:r>
              <a:rPr kumimoji="1" lang="ja-JP" altLang="en-US" dirty="0"/>
              <a:t>行レイアウト 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54CBF31-B862-1841-BB17-2F937916D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75" y="259238"/>
            <a:ext cx="9504000" cy="288373"/>
          </a:xfrm>
          <a:noFill/>
        </p:spPr>
        <p:txBody>
          <a:bodyPr tIns="46800" bIns="36000" anchor="b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032CAA47-5154-4784-B263-D9CA5A46514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12410" y="1125538"/>
            <a:ext cx="9504000" cy="532765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36091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2行タイトル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D0203BCC-19FC-5B4A-93BF-A71050BFB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975" y="259200"/>
            <a:ext cx="9504000" cy="979069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vert="horz" lIns="144000" tIns="324000" rIns="0" bIns="36000" rtlCol="0" anchor="t" anchorCtr="0">
            <a:spAutoFit/>
          </a:bodyPr>
          <a:lstStyle>
            <a:lvl1pPr marL="0" indent="0" fontAlgn="ctr">
              <a:spcBef>
                <a:spcPts val="0"/>
              </a:spcBef>
              <a:buNone/>
              <a:defRPr lang="ja-JP" altLang="en-US" sz="2000" b="1" i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en-US" altLang="ja-JP" dirty="0"/>
              <a:t>2</a:t>
            </a:r>
            <a:r>
              <a:rPr kumimoji="1" lang="ja-JP" altLang="en-US" dirty="0"/>
              <a:t>行レイアウト タイトル</a:t>
            </a:r>
            <a:r>
              <a:rPr lang="en-US" altLang="ja-JP" dirty="0"/>
              <a:t>/</a:t>
            </a:r>
            <a:br>
              <a:rPr lang="en-US" altLang="ja-JP" dirty="0"/>
            </a:b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54CBF31-B862-1841-BB17-2F937916D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975" y="259200"/>
            <a:ext cx="9504000" cy="288000"/>
          </a:xfrm>
          <a:noFill/>
        </p:spPr>
        <p:txBody>
          <a:bodyPr tIns="46800" bIns="36000" anchor="b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</p:spTree>
    <p:extLst>
      <p:ext uri="{BB962C8B-B14F-4D97-AF65-F5344CB8AC3E}">
        <p14:creationId xmlns:p14="http://schemas.microsoft.com/office/powerpoint/2010/main" val="2733616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章＋2行タイトル+本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テキスト プレースホルダー 18">
            <a:extLst>
              <a:ext uri="{FF2B5EF4-FFF2-40B4-BE49-F238E27FC236}">
                <a16:creationId xmlns:a16="http://schemas.microsoft.com/office/drawing/2014/main" id="{D0203BCC-19FC-5B4A-93BF-A71050BFBFA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01600" y="259200"/>
            <a:ext cx="9504000" cy="979069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vert="horz" lIns="144000" tIns="324000" rIns="0" bIns="36000" rtlCol="0" anchor="t" anchorCtr="0">
            <a:spAutoFit/>
          </a:bodyPr>
          <a:lstStyle>
            <a:lvl1pPr marL="0" indent="0" fontAlgn="ctr">
              <a:spcBef>
                <a:spcPts val="0"/>
              </a:spcBef>
              <a:buNone/>
              <a:defRPr lang="ja-JP" altLang="en-US" sz="2000" b="1" i="0" baseline="0">
                <a:solidFill>
                  <a:srgbClr val="000F78"/>
                </a:solidFill>
                <a:latin typeface="Yu Gothic UI" panose="020B0500000000000000" pitchFamily="50" charset="-128"/>
                <a:ea typeface="Yu Gothic UI" panose="020B0500000000000000" pitchFamily="50" charset="-128"/>
                <a:cs typeface="+mj-cs"/>
              </a:defRPr>
            </a:lvl1pPr>
          </a:lstStyle>
          <a:p>
            <a:pPr lvl="0">
              <a:spcBef>
                <a:spcPct val="0"/>
              </a:spcBef>
            </a:pPr>
            <a:r>
              <a:rPr kumimoji="1" lang="en-US" altLang="ja-JP" dirty="0"/>
              <a:t>2</a:t>
            </a:r>
            <a:r>
              <a:rPr kumimoji="1" lang="ja-JP" altLang="en-US" dirty="0"/>
              <a:t>行レイアウト タイトル</a:t>
            </a:r>
            <a:r>
              <a:rPr lang="en-US" altLang="ja-JP" dirty="0"/>
              <a:t>/</a:t>
            </a:r>
            <a:br>
              <a:rPr lang="en-US" altLang="ja-JP" dirty="0"/>
            </a:b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13" name="タイトル 12">
            <a:extLst>
              <a:ext uri="{FF2B5EF4-FFF2-40B4-BE49-F238E27FC236}">
                <a16:creationId xmlns:a16="http://schemas.microsoft.com/office/drawing/2014/main" id="{754CBF31-B862-1841-BB17-2F937916DD0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01600" y="259200"/>
            <a:ext cx="9504000" cy="288000"/>
          </a:xfrm>
          <a:noFill/>
        </p:spPr>
        <p:txBody>
          <a:bodyPr tIns="46800" bIns="36000" anchor="b" anchorCtr="0"/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ja-JP" altLang="en-US" dirty="0"/>
              <a:t>章タイトル</a:t>
            </a:r>
            <a:r>
              <a:rPr lang="en-US" altLang="ja-JP" dirty="0"/>
              <a:t>/</a:t>
            </a:r>
            <a:r>
              <a:rPr lang="ja-JP" altLang="en-US" dirty="0"/>
              <a:t>スライドタイトル</a:t>
            </a:r>
            <a:r>
              <a:rPr kumimoji="1" lang="ja-JP" altLang="en-US" dirty="0"/>
              <a:t>を入力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783B570E-CC53-41C8-85D2-1CE49EC804E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1600" y="1476000"/>
            <a:ext cx="9504000" cy="4968000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048414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35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3CF75E4F-FB49-4B5A-8AF5-05DAF9F8B4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96397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スライド" r:id="rId17" imgW="564" imgH="564" progId="TCLayout.ActiveDocument.1">
                  <p:embed/>
                </p:oleObj>
              </mc:Choice>
              <mc:Fallback>
                <p:oleObj name="think-cell スライド" r:id="rId17" imgW="564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正方形/長方形 3" hidden="1">
            <a:extLst>
              <a:ext uri="{FF2B5EF4-FFF2-40B4-BE49-F238E27FC236}">
                <a16:creationId xmlns:a16="http://schemas.microsoft.com/office/drawing/2014/main" id="{24EE84C3-2566-4A60-A44C-B0B9F2C253A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kumimoji="1" lang="ja-JP" altLang="en-US" sz="2000" b="1" i="0" baseline="0" dirty="0">
              <a:latin typeface="Yu Gothic UI" panose="020B0500000000000000" pitchFamily="50" charset="-128"/>
              <a:ea typeface="Yu Gothic UI" panose="020B0500000000000000" pitchFamily="50" charset="-128"/>
              <a:cs typeface="+mj-cs"/>
              <a:sym typeface="Yu Gothic UI" panose="020B0500000000000000" pitchFamily="50" charset="-128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01000" y="259200"/>
            <a:ext cx="9504000" cy="380480"/>
          </a:xfrm>
          <a:prstGeom prst="rect">
            <a:avLst/>
          </a:prstGeom>
          <a:blipFill dpi="0" rotWithShape="1">
            <a:blip r:embed="rId19"/>
            <a:srcRect/>
            <a:stretch>
              <a:fillRect/>
            </a:stretch>
          </a:blipFill>
        </p:spPr>
        <p:txBody>
          <a:bodyPr vert="horz" lIns="144000" tIns="36000" rIns="0" bIns="36000" rtlCol="0" anchor="t" anchorCtr="0">
            <a:spAutoFit/>
          </a:bodyPr>
          <a:lstStyle/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1000" y="863999"/>
            <a:ext cx="9504000" cy="5589335"/>
          </a:xfrm>
          <a:prstGeom prst="rect">
            <a:avLst/>
          </a:prstGeom>
        </p:spPr>
        <p:txBody>
          <a:bodyPr vert="horz" lIns="90000" tIns="46800" rIns="90000" bIns="4680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5"/>
            <a:r>
              <a:rPr kumimoji="1" lang="ja-JP" altLang="en-US" dirty="0"/>
              <a:t>第</a:t>
            </a:r>
            <a:r>
              <a:rPr kumimoji="1" lang="en-US" altLang="ja-JP" dirty="0"/>
              <a:t>6</a:t>
            </a:r>
            <a:r>
              <a:rPr kumimoji="1" lang="ja-JP" altLang="en-US" dirty="0"/>
              <a:t>レベル</a:t>
            </a: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391117A-CD3E-4600-B746-847FEC23B848}"/>
              </a:ext>
            </a:extLst>
          </p:cNvPr>
          <p:cNvSpPr/>
          <p:nvPr userDrawn="1"/>
        </p:nvSpPr>
        <p:spPr>
          <a:xfrm>
            <a:off x="9417496" y="6623893"/>
            <a:ext cx="488504" cy="171856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162000" bIns="0" rtlCol="0" anchor="ctr" anchorCtr="0"/>
          <a:lstStyle/>
          <a:p>
            <a:pPr algn="r"/>
            <a:fld id="{F461DCFA-917F-7743-ADC0-510F16953B30}" type="slidenum">
              <a:rPr kumimoji="1" lang="ja-JP" altLang="en-US" sz="1200" b="0" i="0" smtClean="0">
                <a:solidFill>
                  <a:srgbClr val="000F78"/>
                </a:solidFill>
                <a:latin typeface="+mn-lt"/>
                <a:ea typeface="+mn-ea"/>
              </a:rPr>
              <a:pPr algn="r"/>
              <a:t>‹#›</a:t>
            </a:fld>
            <a:endParaRPr kumimoji="1" lang="ja-JP" altLang="en-US" sz="1200" b="0" i="0" dirty="0">
              <a:solidFill>
                <a:srgbClr val="000F78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6598179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40" r:id="rId2"/>
    <p:sldLayoutId id="2147483772" r:id="rId3"/>
    <p:sldLayoutId id="2147483721" r:id="rId4"/>
    <p:sldLayoutId id="2147483723" r:id="rId5"/>
    <p:sldLayoutId id="2147483759" r:id="rId6"/>
    <p:sldLayoutId id="2147483760" r:id="rId7"/>
    <p:sldLayoutId id="2147483773" r:id="rId8"/>
    <p:sldLayoutId id="2147483774" r:id="rId9"/>
    <p:sldLayoutId id="2147483732" r:id="rId10"/>
    <p:sldLayoutId id="2147483733" r:id="rId11"/>
    <p:sldLayoutId id="2147483829" r:id="rId12"/>
  </p:sldLayoutIdLst>
  <p:hf hdr="0" ftr="0" dt="0"/>
  <p:txStyles>
    <p:titleStyle>
      <a:lvl1pPr algn="l" defTabSz="914400" rtl="0" eaLnBrk="1" fontAlgn="ctr" latinLnBrk="0" hangingPunct="1">
        <a:lnSpc>
          <a:spcPct val="100000"/>
        </a:lnSpc>
        <a:spcBef>
          <a:spcPct val="0"/>
        </a:spcBef>
        <a:buNone/>
        <a:defRPr kumimoji="1" sz="2000" b="1" i="0" kern="1200" baseline="0">
          <a:solidFill>
            <a:srgbClr val="000F78"/>
          </a:solidFill>
          <a:latin typeface="Yu Gothic UI" panose="020B0500000000000000" pitchFamily="50" charset="-128"/>
          <a:ea typeface="Yu Gothic UI" panose="020B0500000000000000" pitchFamily="50" charset="-128"/>
          <a:cs typeface="+mj-cs"/>
        </a:defRPr>
      </a:lvl1pPr>
    </p:titleStyle>
    <p:bodyStyle>
      <a:lvl1pPr marL="187200" indent="-187200" algn="l" defTabSz="914400" rtl="0" eaLnBrk="1" latinLnBrk="0" hangingPunct="1">
        <a:lnSpc>
          <a:spcPct val="100000"/>
        </a:lnSpc>
        <a:spcBef>
          <a:spcPts val="576"/>
        </a:spcBef>
        <a:buClr>
          <a:srgbClr val="000F78"/>
        </a:buClr>
        <a:buFont typeface="Wingdings" panose="05000000000000000000" pitchFamily="2" charset="2"/>
        <a:buChar char="n"/>
        <a:defRPr kumimoji="1" sz="1600" kern="1200" baseline="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1pPr>
      <a:lvl2pPr marL="609600" indent="-230188" algn="l" defTabSz="914400" rtl="0" eaLnBrk="1" latinLnBrk="0" hangingPunct="1">
        <a:lnSpc>
          <a:spcPct val="100000"/>
        </a:lnSpc>
        <a:spcBef>
          <a:spcPts val="504"/>
        </a:spcBef>
        <a:buClr>
          <a:srgbClr val="000F78"/>
        </a:buClr>
        <a:buFont typeface="Wingdings" panose="05000000000000000000" pitchFamily="2" charset="2"/>
        <a:buChar char="l"/>
        <a:tabLst/>
        <a:defRPr kumimoji="1" sz="14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2pPr>
      <a:lvl3pPr marL="984250" indent="-196850" algn="l" defTabSz="914400" rtl="0" eaLnBrk="1" latinLnBrk="0" hangingPunct="1">
        <a:lnSpc>
          <a:spcPct val="100000"/>
        </a:lnSpc>
        <a:spcBef>
          <a:spcPts val="24"/>
        </a:spcBef>
        <a:buClr>
          <a:srgbClr val="000F78"/>
        </a:buClr>
        <a:buFont typeface="Arial" panose="020B0604020202020204" pitchFamily="34" charset="0"/>
        <a:buChar char="•"/>
        <a:tabLst/>
        <a:defRPr kumimoji="1" sz="14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3pPr>
      <a:lvl4pPr marL="1355725" indent="-190500" algn="l" defTabSz="914400" rtl="0" eaLnBrk="1" latinLnBrk="0" hangingPunct="1">
        <a:lnSpc>
          <a:spcPct val="100000"/>
        </a:lnSpc>
        <a:spcBef>
          <a:spcPts val="216"/>
        </a:spcBef>
        <a:buClr>
          <a:srgbClr val="000F78"/>
        </a:buClr>
        <a:buFont typeface="Yu Gothic UI" panose="020B0500000000000000" pitchFamily="50" charset="-128"/>
        <a:buChar char="•"/>
        <a:tabLst/>
        <a:defRPr kumimoji="1" sz="12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4pPr>
      <a:lvl5pPr marL="1674813" indent="-184150" algn="l" defTabSz="914400" rtl="0" eaLnBrk="1" latinLnBrk="0" hangingPunct="1">
        <a:lnSpc>
          <a:spcPct val="100000"/>
        </a:lnSpc>
        <a:spcBef>
          <a:spcPts val="144"/>
        </a:spcBef>
        <a:buClr>
          <a:srgbClr val="000F78"/>
        </a:buClr>
        <a:buFont typeface="Arial" panose="020B0604020202020204" pitchFamily="34" charset="0"/>
        <a:buChar char="•"/>
        <a:tabLst/>
        <a:defRPr kumimoji="1" sz="12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5pPr>
      <a:lvl6pPr marL="1990725" indent="-190500" algn="l" defTabSz="914400" rtl="0" eaLnBrk="1" latinLnBrk="0" hangingPunct="1">
        <a:lnSpc>
          <a:spcPct val="90000"/>
        </a:lnSpc>
        <a:spcBef>
          <a:spcPts val="500"/>
        </a:spcBef>
        <a:buClr>
          <a:srgbClr val="000F78"/>
        </a:buClr>
        <a:buFont typeface="Arial" panose="020B0604020202020204" pitchFamily="34" charset="0"/>
        <a:buChar char="•"/>
        <a:defRPr kumimoji="1" sz="1200" kern="1200">
          <a:solidFill>
            <a:schemeClr val="tx1"/>
          </a:solidFill>
          <a:latin typeface="Yu Gothic UI" panose="020B0500000000000000" pitchFamily="50" charset="-128"/>
          <a:ea typeface="Yu Gothic UI" panose="020B0500000000000000" pitchFamily="50" charset="-128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 userDrawn="1">
          <p15:clr>
            <a:srgbClr val="5ACBF0"/>
          </p15:clr>
        </p15:guide>
        <p15:guide id="2" pos="3120" userDrawn="1">
          <p15:clr>
            <a:srgbClr val="5ACBF0"/>
          </p15:clr>
        </p15:guide>
        <p15:guide id="3" pos="6114" userDrawn="1">
          <p15:clr>
            <a:srgbClr val="5ACBF0"/>
          </p15:clr>
        </p15:guide>
        <p15:guide id="4" pos="126" userDrawn="1">
          <p15:clr>
            <a:srgbClr val="5ACBF0"/>
          </p15:clr>
        </p15:guide>
        <p15:guide id="5" orient="horz" pos="4065" userDrawn="1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2819B054-63EE-48FC-9BB7-FB5EA67E37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スライド" r:id="rId5" imgW="564" imgH="564" progId="TCLayout.ActiveDocument.1">
                  <p:embed/>
                </p:oleObj>
              </mc:Choice>
              <mc:Fallback>
                <p:oleObj name="think-cell スライド" r:id="rId5" imgW="564" imgH="564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2819B054-63EE-48FC-9BB7-FB5EA67E3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8FECC7C3-46D0-4B11-9165-5BD87D3771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1" lang="ja-JP" altLang="en-US" sz="1400" b="1" dirty="0">
              <a:latin typeface="Yu Gothic UI" panose="020B0500000000000000" pitchFamily="50" charset="-128"/>
              <a:ea typeface="Yu Gothic UI" panose="020B0500000000000000" pitchFamily="50" charset="-128"/>
              <a:cs typeface="+mj-cs"/>
              <a:sym typeface="Yu Gothic UI" panose="020B0500000000000000" pitchFamily="50" charset="-128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B007E87-7713-423A-B319-1D3A966CE1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ja-JP" altLang="en-US" dirty="0">
                <a:solidFill>
                  <a:schemeClr val="tx2">
                    <a:lumMod val="25000"/>
                  </a:schemeClr>
                </a:solidFill>
              </a:rPr>
              <a:t>事業・プロジェクト名</a:t>
            </a:r>
            <a:endParaRPr kumimoji="1" lang="ja-JP" altLang="en-US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E53E2612-A962-44D3-A120-CF633F5F5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000" y="24129"/>
            <a:ext cx="9504000" cy="514496"/>
          </a:xfrm>
        </p:spPr>
        <p:txBody>
          <a:bodyPr/>
          <a:lstStyle/>
          <a:p>
            <a:r>
              <a:rPr lang="ja-JP" altLang="en-US" dirty="0">
                <a:solidFill>
                  <a:schemeClr val="tx2">
                    <a:lumMod val="25000"/>
                  </a:schemeClr>
                </a:solidFill>
              </a:rPr>
              <a:t>令和</a:t>
            </a:r>
            <a:r>
              <a:rPr lang="en-US" altLang="ja-JP" dirty="0">
                <a:solidFill>
                  <a:schemeClr val="tx2">
                    <a:lumMod val="25000"/>
                  </a:schemeClr>
                </a:solidFill>
              </a:rPr>
              <a:t>4</a:t>
            </a:r>
            <a:r>
              <a:rPr lang="ja-JP" altLang="en-US" dirty="0">
                <a:solidFill>
                  <a:schemeClr val="tx2">
                    <a:lumMod val="25000"/>
                  </a:schemeClr>
                </a:solidFill>
              </a:rPr>
              <a:t>年度「無人自動運転等の</a:t>
            </a:r>
            <a:r>
              <a:rPr lang="en-US" altLang="ja-JP" dirty="0">
                <a:solidFill>
                  <a:schemeClr val="tx2">
                    <a:lumMod val="25000"/>
                  </a:schemeClr>
                </a:solidFill>
              </a:rPr>
              <a:t>CASE</a:t>
            </a:r>
            <a:r>
              <a:rPr lang="ja-JP" altLang="en-US" dirty="0">
                <a:solidFill>
                  <a:schemeClr val="tx2">
                    <a:lumMod val="25000"/>
                  </a:schemeClr>
                </a:solidFill>
              </a:rPr>
              <a:t>対応に向けた実証・支援事業費補助金</a:t>
            </a:r>
            <a:r>
              <a:rPr lang="en-US" altLang="ja-JP" dirty="0">
                <a:solidFill>
                  <a:schemeClr val="tx2">
                    <a:lumMod val="25000"/>
                  </a:schemeClr>
                </a:solidFill>
              </a:rPr>
              <a:t>(</a:t>
            </a:r>
            <a:r>
              <a:rPr lang="ja-JP" altLang="en-US" dirty="0">
                <a:solidFill>
                  <a:schemeClr val="tx2">
                    <a:lumMod val="25000"/>
                  </a:schemeClr>
                </a:solidFill>
              </a:rPr>
              <a:t>商用電動車等の普及加速に向けた実証事業</a:t>
            </a:r>
            <a:r>
              <a:rPr lang="en-US" altLang="ja-JP" dirty="0">
                <a:solidFill>
                  <a:schemeClr val="tx2">
                    <a:lumMod val="25000"/>
                  </a:schemeClr>
                </a:solidFill>
              </a:rPr>
              <a:t>)</a:t>
            </a:r>
            <a:r>
              <a:rPr lang="ja-JP" altLang="en-US" dirty="0">
                <a:solidFill>
                  <a:schemeClr val="tx2">
                    <a:lumMod val="25000"/>
                  </a:schemeClr>
                </a:solidFill>
              </a:rPr>
              <a:t>」</a:t>
            </a:r>
            <a:br>
              <a:rPr lang="en-US" altLang="ja-JP" dirty="0">
                <a:solidFill>
                  <a:schemeClr val="tx2">
                    <a:lumMod val="25000"/>
                  </a:schemeClr>
                </a:solidFill>
              </a:rPr>
            </a:br>
            <a:r>
              <a:rPr lang="ja-JP" altLang="en-US" dirty="0">
                <a:solidFill>
                  <a:schemeClr val="tx2">
                    <a:lumMod val="25000"/>
                  </a:schemeClr>
                </a:solidFill>
              </a:rPr>
              <a:t>　・</a:t>
            </a:r>
            <a:r>
              <a:rPr lang="ja-JP" altLang="ja-JP" dirty="0">
                <a:solidFill>
                  <a:schemeClr val="tx2">
                    <a:lumMod val="25000"/>
                  </a:schemeClr>
                </a:solidFill>
              </a:rPr>
              <a:t>統合制御用半導体のシミュレーションによる設計基盤構築事業</a:t>
            </a:r>
            <a:r>
              <a:rPr lang="ja-JP" altLang="en-US" dirty="0">
                <a:solidFill>
                  <a:schemeClr val="tx2">
                    <a:lumMod val="25000"/>
                  </a:schemeClr>
                </a:solidFill>
              </a:rPr>
              <a:t>　　　　　　　　　　　　　　　会社名</a:t>
            </a:r>
            <a:endParaRPr kumimoji="1" lang="ja-JP" altLang="en-US" dirty="0">
              <a:solidFill>
                <a:schemeClr val="tx2">
                  <a:lumMod val="25000"/>
                </a:schemeClr>
              </a:solidFill>
            </a:endParaRPr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F5D3EAD3-6F45-41F7-8F8F-B5E4613FE71E}"/>
              </a:ext>
            </a:extLst>
          </p:cNvPr>
          <p:cNvSpPr/>
          <p:nvPr/>
        </p:nvSpPr>
        <p:spPr>
          <a:xfrm>
            <a:off x="4953001" y="1340767"/>
            <a:ext cx="4868612" cy="310550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取り組みの計画を整理する。</a:t>
            </a: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１．実施内容整理</a:t>
            </a: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　・・・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２． ●●の検証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　・・・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３． スキーム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　・・・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04AC8FAC-B8B9-45E1-BE2F-D687F1DD25F4}"/>
              </a:ext>
            </a:extLst>
          </p:cNvPr>
          <p:cNvSpPr/>
          <p:nvPr/>
        </p:nvSpPr>
        <p:spPr>
          <a:xfrm>
            <a:off x="206445" y="2938784"/>
            <a:ext cx="4648120" cy="1507486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背景、社会課題、課題の発生要因等の要約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571A2B5-0862-4C80-BE9E-CC9ABA39CE58}"/>
              </a:ext>
            </a:extLst>
          </p:cNvPr>
          <p:cNvSpPr txBox="1"/>
          <p:nvPr/>
        </p:nvSpPr>
        <p:spPr>
          <a:xfrm>
            <a:off x="6690156" y="477299"/>
            <a:ext cx="3024336" cy="44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zh-TW" altLang="en-US" sz="1000" dirty="0"/>
              <a:t>事業予算　約</a:t>
            </a:r>
            <a:r>
              <a:rPr lang="en-US" altLang="zh-TW" sz="1000" dirty="0" err="1"/>
              <a:t>x,xxx</a:t>
            </a:r>
            <a:r>
              <a:rPr lang="zh-TW" altLang="en-US" sz="1000" dirty="0"/>
              <a:t>万円</a:t>
            </a:r>
          </a:p>
          <a:p>
            <a:pPr algn="r">
              <a:lnSpc>
                <a:spcPct val="120000"/>
              </a:lnSpc>
            </a:pPr>
            <a:r>
              <a:rPr lang="en-US" altLang="zh-TW" sz="1000" dirty="0"/>
              <a:t>(</a:t>
            </a:r>
            <a:r>
              <a:rPr lang="zh-TW" altLang="en-US" sz="1000" dirty="0"/>
              <a:t>内　</a:t>
            </a:r>
            <a:r>
              <a:rPr lang="ja-JP" altLang="en-US" sz="1000" dirty="0">
                <a:solidFill>
                  <a:schemeClr val="tx2">
                    <a:lumMod val="25000"/>
                  </a:schemeClr>
                </a:solidFill>
              </a:rPr>
              <a:t>補助金申請</a:t>
            </a:r>
            <a:r>
              <a:rPr lang="zh-TW" altLang="en-US" sz="1000" dirty="0">
                <a:solidFill>
                  <a:schemeClr val="tx2">
                    <a:lumMod val="25000"/>
                  </a:schemeClr>
                </a:solidFill>
              </a:rPr>
              <a:t>額　</a:t>
            </a:r>
            <a:r>
              <a:rPr lang="zh-TW" altLang="en-US" sz="1000" dirty="0"/>
              <a:t>約</a:t>
            </a:r>
            <a:r>
              <a:rPr lang="en-US" altLang="zh-TW" sz="1000" dirty="0" err="1"/>
              <a:t>x,xxx</a:t>
            </a:r>
            <a:r>
              <a:rPr lang="zh-TW" altLang="en-US" sz="1000" dirty="0"/>
              <a:t>万円</a:t>
            </a:r>
            <a:r>
              <a:rPr lang="en-US" altLang="zh-TW" sz="1000" dirty="0"/>
              <a:t>)</a:t>
            </a: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2726BE7E-23FC-4EE9-97DE-4FC22DA9F760}"/>
              </a:ext>
            </a:extLst>
          </p:cNvPr>
          <p:cNvSpPr/>
          <p:nvPr/>
        </p:nvSpPr>
        <p:spPr>
          <a:xfrm>
            <a:off x="4953001" y="4877795"/>
            <a:ext cx="4865089" cy="186357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今年度の計画に対するスケジュール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想定されるマイルストンと想定課題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3BC49746-B314-4403-9DE8-B9F3560237AC}"/>
              </a:ext>
            </a:extLst>
          </p:cNvPr>
          <p:cNvSpPr/>
          <p:nvPr/>
        </p:nvSpPr>
        <p:spPr>
          <a:xfrm>
            <a:off x="4953001" y="995800"/>
            <a:ext cx="4865089" cy="344968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4. </a:t>
            </a:r>
            <a:r>
              <a:rPr lang="ja-JP" altLang="en-US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今年度の取り組みの計画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9FB6838F-8B71-4402-8F20-AA1A1995E7F8}"/>
              </a:ext>
            </a:extLst>
          </p:cNvPr>
          <p:cNvSpPr/>
          <p:nvPr/>
        </p:nvSpPr>
        <p:spPr>
          <a:xfrm>
            <a:off x="201974" y="2620649"/>
            <a:ext cx="4648121" cy="33739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2. </a:t>
            </a:r>
            <a:r>
              <a:rPr lang="ja-JP" altLang="en-US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の背景</a:t>
            </a: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FCDA7ADF-135D-41A9-B55D-115E466AA291}"/>
              </a:ext>
            </a:extLst>
          </p:cNvPr>
          <p:cNvSpPr/>
          <p:nvPr/>
        </p:nvSpPr>
        <p:spPr>
          <a:xfrm>
            <a:off x="201975" y="4903470"/>
            <a:ext cx="4652589" cy="183789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将来、実装したいイメージ</a:t>
            </a:r>
            <a:r>
              <a:rPr lang="ja-JP" altLang="en-US" sz="120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や構想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ガイドラインやモデルの活用範囲や展開等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ja-JP" altLang="en-US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ja-JP" altLang="en-US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7C118BF8-4034-493C-BE4F-C2F53CCE7605}"/>
              </a:ext>
            </a:extLst>
          </p:cNvPr>
          <p:cNvSpPr/>
          <p:nvPr/>
        </p:nvSpPr>
        <p:spPr>
          <a:xfrm>
            <a:off x="206445" y="4522935"/>
            <a:ext cx="4648120" cy="36475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3.</a:t>
            </a:r>
            <a:r>
              <a:rPr lang="ja-JP" altLang="en-US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の目的</a:t>
            </a:r>
          </a:p>
        </p:txBody>
      </p:sp>
      <p:graphicFrame>
        <p:nvGraphicFramePr>
          <p:cNvPr id="24" name="表 23">
            <a:extLst>
              <a:ext uri="{FF2B5EF4-FFF2-40B4-BE49-F238E27FC236}">
                <a16:creationId xmlns:a16="http://schemas.microsoft.com/office/drawing/2014/main" id="{D7274BBA-7441-40A3-8520-F61686DDF1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0862870"/>
              </p:ext>
            </p:extLst>
          </p:nvPr>
        </p:nvGraphicFramePr>
        <p:xfrm>
          <a:off x="201975" y="993034"/>
          <a:ext cx="4652589" cy="1562830"/>
        </p:xfrm>
        <a:graphic>
          <a:graphicData uri="http://schemas.openxmlformats.org/drawingml/2006/table">
            <a:tbl>
              <a:tblPr>
                <a:tableStyleId>{073A0DAA-6AF3-43AB-8588-CEC1D06C72B9}</a:tableStyleId>
              </a:tblPr>
              <a:tblGrid>
                <a:gridCol w="9602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92376">
                  <a:extLst>
                    <a:ext uri="{9D8B030D-6E8A-4147-A177-3AD203B41FA5}">
                      <a16:colId xmlns:a16="http://schemas.microsoft.com/office/drawing/2014/main" val="15657610"/>
                    </a:ext>
                  </a:extLst>
                </a:gridCol>
              </a:tblGrid>
              <a:tr h="305771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b="1" dirty="0">
                          <a:solidFill>
                            <a:schemeClr val="bg1"/>
                          </a:solidFill>
                        </a:rPr>
                        <a:t>1. </a:t>
                      </a:r>
                      <a:r>
                        <a:rPr lang="ja-JP" altLang="en-US" sz="1200" b="1" dirty="0">
                          <a:solidFill>
                            <a:schemeClr val="bg1"/>
                          </a:solidFill>
                        </a:rPr>
                        <a:t>事業の実施体制</a:t>
                      </a:r>
                      <a:endParaRPr kumimoji="1" lang="ja-JP" altLang="en-US" sz="12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771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200" b="1" dirty="0">
                          <a:solidFill>
                            <a:schemeClr val="bg1"/>
                          </a:solidFill>
                        </a:rPr>
                        <a:t>団体区分</a:t>
                      </a:r>
                      <a:endParaRPr lang="ja-JP" altLang="en-US" sz="12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200" b="1" dirty="0">
                          <a:solidFill>
                            <a:schemeClr val="bg1"/>
                          </a:solidFill>
                        </a:rPr>
                        <a:t>企業名（実施内容・役割）</a:t>
                      </a:r>
                      <a:endParaRPr lang="ja-JP" altLang="en-US" sz="12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415914"/>
                  </a:ext>
                </a:extLst>
              </a:tr>
              <a:tr h="288784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</a:rPr>
                        <a:t>代表企業</a:t>
                      </a:r>
                      <a:endParaRPr lang="ja-JP" altLang="en-US" sz="110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</a:rPr>
                        <a:t>●●会社（実証実験の運行や取りまとめの主体）</a:t>
                      </a:r>
                      <a:endParaRPr lang="ja-JP" altLang="en-US" sz="110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2504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</a:rPr>
                        <a:t>参加企業</a:t>
                      </a:r>
                      <a:endParaRPr lang="ja-JP" altLang="en-US" sz="110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ysClr val="windowText" lastClr="00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ysClr val="windowText" lastClr="00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</a:rPr>
                        <a:t>●●会社（●●●●）</a:t>
                      </a:r>
                      <a:endParaRPr lang="ja-JP" altLang="en-US" sz="110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0393617"/>
                  </a:ext>
                </a:extLst>
              </a:tr>
            </a:tbl>
          </a:graphicData>
        </a:graphic>
      </p:graphicFrame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28DC9AAF-6380-4173-9E02-5D4683628DD9}"/>
              </a:ext>
            </a:extLst>
          </p:cNvPr>
          <p:cNvSpPr/>
          <p:nvPr/>
        </p:nvSpPr>
        <p:spPr>
          <a:xfrm>
            <a:off x="4953001" y="4522934"/>
            <a:ext cx="4865090" cy="357675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5. </a:t>
            </a:r>
            <a:r>
              <a:rPr lang="ja-JP" altLang="en-US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年間スケジュール</a:t>
            </a:r>
          </a:p>
        </p:txBody>
      </p:sp>
    </p:spTree>
    <p:extLst>
      <p:ext uri="{BB962C8B-B14F-4D97-AF65-F5344CB8AC3E}">
        <p14:creationId xmlns:p14="http://schemas.microsoft.com/office/powerpoint/2010/main" val="75524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2819B054-63EE-48FC-9BB7-FB5EA67E374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スライド" r:id="rId5" imgW="564" imgH="564" progId="TCLayout.ActiveDocument.1">
                  <p:embed/>
                </p:oleObj>
              </mc:Choice>
              <mc:Fallback>
                <p:oleObj name="think-cell スライド" r:id="rId5" imgW="564" imgH="564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2819B054-63EE-48FC-9BB7-FB5EA67E37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正方形/長方形 1" hidden="1">
            <a:extLst>
              <a:ext uri="{FF2B5EF4-FFF2-40B4-BE49-F238E27FC236}">
                <a16:creationId xmlns:a16="http://schemas.microsoft.com/office/drawing/2014/main" id="{8FECC7C3-46D0-4B11-9165-5BD87D37713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kumimoji="1" lang="ja-JP" altLang="en-US" sz="1400" b="1" dirty="0">
              <a:latin typeface="Yu Gothic UI" panose="020B0500000000000000" pitchFamily="50" charset="-128"/>
              <a:ea typeface="Yu Gothic UI" panose="020B0500000000000000" pitchFamily="50" charset="-128"/>
              <a:cs typeface="+mj-cs"/>
              <a:sym typeface="Yu Gothic UI" panose="020B0500000000000000" pitchFamily="50" charset="-128"/>
            </a:endParaRPr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5B007E87-7713-423A-B319-1D3A966CE19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ja-JP" altLang="en-US" dirty="0"/>
              <a:t>事業・プロジェクト名</a:t>
            </a:r>
            <a:endParaRPr kumimoji="1" lang="ja-JP" altLang="en-US" dirty="0"/>
          </a:p>
        </p:txBody>
      </p:sp>
      <p:sp>
        <p:nvSpPr>
          <p:cNvPr id="3" name="タイトル 2">
            <a:extLst>
              <a:ext uri="{FF2B5EF4-FFF2-40B4-BE49-F238E27FC236}">
                <a16:creationId xmlns:a16="http://schemas.microsoft.com/office/drawing/2014/main" id="{E53E2612-A962-44D3-A120-CF633F5F5D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1975" y="33115"/>
            <a:ext cx="9504000" cy="514496"/>
          </a:xfrm>
        </p:spPr>
        <p:txBody>
          <a:bodyPr/>
          <a:lstStyle/>
          <a:p>
            <a:r>
              <a:rPr lang="ja-JP" altLang="en-US" dirty="0"/>
              <a:t>令和</a:t>
            </a:r>
            <a:r>
              <a:rPr lang="en-US" altLang="ja-JP" dirty="0"/>
              <a:t>4</a:t>
            </a:r>
            <a:r>
              <a:rPr lang="ja-JP" altLang="en-US" dirty="0"/>
              <a:t>年度「無人自動運転等の</a:t>
            </a:r>
            <a:r>
              <a:rPr lang="en-US" altLang="ja-JP" dirty="0"/>
              <a:t>CASE</a:t>
            </a:r>
            <a:r>
              <a:rPr lang="ja-JP" altLang="en-US" dirty="0"/>
              <a:t>対応に向けた実証・支援事業費補助金</a:t>
            </a:r>
            <a:r>
              <a:rPr lang="en-US" altLang="ja-JP" dirty="0"/>
              <a:t>(</a:t>
            </a:r>
            <a:r>
              <a:rPr lang="ja-JP" altLang="en-US" dirty="0"/>
              <a:t>商用電動車等の普及加速に向けた実証事業</a:t>
            </a:r>
            <a:r>
              <a:rPr lang="en-US" altLang="ja-JP" dirty="0"/>
              <a:t>)</a:t>
            </a:r>
            <a:r>
              <a:rPr lang="ja-JP" altLang="en-US" dirty="0"/>
              <a:t>」　　</a:t>
            </a:r>
            <a:br>
              <a:rPr lang="en-US" altLang="ja-JP" dirty="0"/>
            </a:br>
            <a:r>
              <a:rPr lang="ja-JP" altLang="en-US" dirty="0"/>
              <a:t>　・</a:t>
            </a:r>
            <a:r>
              <a:rPr lang="ja-JP" altLang="ja-JP" dirty="0"/>
              <a:t>商用電動車の普及に向けた研究開発・実証事業</a:t>
            </a:r>
            <a:r>
              <a:rPr lang="ja-JP" altLang="en-US" dirty="0"/>
              <a:t>　　　　　　　　　　　　　　　　　会社名</a:t>
            </a:r>
            <a:endParaRPr kumimoji="1" lang="ja-JP" altLang="en-US" dirty="0"/>
          </a:p>
        </p:txBody>
      </p:sp>
      <p:sp>
        <p:nvSpPr>
          <p:cNvPr id="12" name="正方形/長方形 11">
            <a:extLst>
              <a:ext uri="{FF2B5EF4-FFF2-40B4-BE49-F238E27FC236}">
                <a16:creationId xmlns:a16="http://schemas.microsoft.com/office/drawing/2014/main" id="{F5D3EAD3-6F45-41F7-8F8F-B5E4613FE71E}"/>
              </a:ext>
            </a:extLst>
          </p:cNvPr>
          <p:cNvSpPr/>
          <p:nvPr/>
        </p:nvSpPr>
        <p:spPr>
          <a:xfrm>
            <a:off x="4953001" y="1340767"/>
            <a:ext cx="4868612" cy="310550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実証実験の計画を整理する。</a:t>
            </a: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１．実施内容整理</a:t>
            </a: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　・・・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２． ●●の検証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　・・・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３． スキーム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　・・・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14" name="正方形/長方形 13">
            <a:extLst>
              <a:ext uri="{FF2B5EF4-FFF2-40B4-BE49-F238E27FC236}">
                <a16:creationId xmlns:a16="http://schemas.microsoft.com/office/drawing/2014/main" id="{04AC8FAC-B8B9-45E1-BE2F-D687F1DD25F4}"/>
              </a:ext>
            </a:extLst>
          </p:cNvPr>
          <p:cNvSpPr/>
          <p:nvPr/>
        </p:nvSpPr>
        <p:spPr>
          <a:xfrm>
            <a:off x="206445" y="2938784"/>
            <a:ext cx="4648120" cy="1507486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背景、社会課題、課題の発生要因等の要約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2571A2B5-0862-4C80-BE9E-CC9ABA39CE58}"/>
              </a:ext>
            </a:extLst>
          </p:cNvPr>
          <p:cNvSpPr txBox="1"/>
          <p:nvPr/>
        </p:nvSpPr>
        <p:spPr>
          <a:xfrm>
            <a:off x="6690156" y="477299"/>
            <a:ext cx="3024336" cy="44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ct val="120000"/>
              </a:lnSpc>
            </a:pPr>
            <a:r>
              <a:rPr lang="zh-TW" altLang="en-US" sz="1000" dirty="0"/>
              <a:t>事業予算　約</a:t>
            </a:r>
            <a:r>
              <a:rPr lang="en-US" altLang="zh-TW" sz="1000" dirty="0" err="1"/>
              <a:t>x,xxx</a:t>
            </a:r>
            <a:r>
              <a:rPr lang="zh-TW" altLang="en-US" sz="1000" dirty="0"/>
              <a:t>万円</a:t>
            </a:r>
          </a:p>
          <a:p>
            <a:pPr algn="r">
              <a:lnSpc>
                <a:spcPct val="120000"/>
              </a:lnSpc>
            </a:pPr>
            <a:r>
              <a:rPr lang="en-US" altLang="zh-TW" sz="1000" dirty="0"/>
              <a:t>(</a:t>
            </a:r>
            <a:r>
              <a:rPr lang="zh-TW" altLang="en-US" sz="1000" dirty="0"/>
              <a:t>内　</a:t>
            </a:r>
            <a:r>
              <a:rPr lang="ja-JP" altLang="en-US" sz="1000" dirty="0">
                <a:solidFill>
                  <a:schemeClr val="tx2">
                    <a:lumMod val="25000"/>
                  </a:schemeClr>
                </a:solidFill>
              </a:rPr>
              <a:t>補助金申請</a:t>
            </a:r>
            <a:r>
              <a:rPr lang="zh-TW" altLang="en-US" sz="1000" dirty="0">
                <a:solidFill>
                  <a:schemeClr val="tx2">
                    <a:lumMod val="25000"/>
                  </a:schemeClr>
                </a:solidFill>
              </a:rPr>
              <a:t>額　</a:t>
            </a:r>
            <a:r>
              <a:rPr lang="zh-TW" altLang="en-US" sz="1000" dirty="0"/>
              <a:t>約</a:t>
            </a:r>
            <a:r>
              <a:rPr lang="en-US" altLang="zh-TW" sz="1000" dirty="0" err="1"/>
              <a:t>x,xxx</a:t>
            </a:r>
            <a:r>
              <a:rPr lang="zh-TW" altLang="en-US" sz="1000" dirty="0"/>
              <a:t>万円</a:t>
            </a:r>
            <a:r>
              <a:rPr lang="en-US" altLang="zh-TW" sz="1000" dirty="0"/>
              <a:t>)</a:t>
            </a:r>
          </a:p>
        </p:txBody>
      </p:sp>
      <p:sp>
        <p:nvSpPr>
          <p:cNvPr id="20" name="正方形/長方形 19">
            <a:extLst>
              <a:ext uri="{FF2B5EF4-FFF2-40B4-BE49-F238E27FC236}">
                <a16:creationId xmlns:a16="http://schemas.microsoft.com/office/drawing/2014/main" id="{2726BE7E-23FC-4EE9-97DE-4FC22DA9F760}"/>
              </a:ext>
            </a:extLst>
          </p:cNvPr>
          <p:cNvSpPr/>
          <p:nvPr/>
        </p:nvSpPr>
        <p:spPr>
          <a:xfrm>
            <a:off x="4953001" y="4877795"/>
            <a:ext cx="4865089" cy="186357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7800" indent="-17780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今年度の実証実験の計画に対するスケジュール</a:t>
            </a:r>
            <a:endParaRPr lang="en-US" altLang="ja-JP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177800" indent="-17780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1"/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想定されるマイルストンと想定課題</a:t>
            </a: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3BC49746-B314-4403-9DE8-B9F3560237AC}"/>
              </a:ext>
            </a:extLst>
          </p:cNvPr>
          <p:cNvSpPr/>
          <p:nvPr/>
        </p:nvSpPr>
        <p:spPr>
          <a:xfrm>
            <a:off x="4953001" y="995800"/>
            <a:ext cx="4865089" cy="344968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4. </a:t>
            </a:r>
            <a:r>
              <a:rPr lang="ja-JP" altLang="en-US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今年度の実証実験の計画</a:t>
            </a:r>
          </a:p>
        </p:txBody>
      </p:sp>
      <p:sp>
        <p:nvSpPr>
          <p:cNvPr id="17" name="正方形/長方形 16">
            <a:extLst>
              <a:ext uri="{FF2B5EF4-FFF2-40B4-BE49-F238E27FC236}">
                <a16:creationId xmlns:a16="http://schemas.microsoft.com/office/drawing/2014/main" id="{9FB6838F-8B71-4402-8F20-AA1A1995E7F8}"/>
              </a:ext>
            </a:extLst>
          </p:cNvPr>
          <p:cNvSpPr/>
          <p:nvPr/>
        </p:nvSpPr>
        <p:spPr>
          <a:xfrm>
            <a:off x="201974" y="2620649"/>
            <a:ext cx="4648121" cy="33739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2. </a:t>
            </a:r>
            <a:r>
              <a:rPr lang="ja-JP" altLang="en-US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事業の背景</a:t>
            </a:r>
          </a:p>
        </p:txBody>
      </p:sp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FCDA7ADF-135D-41A9-B55D-115E466AA291}"/>
              </a:ext>
            </a:extLst>
          </p:cNvPr>
          <p:cNvSpPr/>
          <p:nvPr/>
        </p:nvSpPr>
        <p:spPr>
          <a:xfrm>
            <a:off x="201975" y="4903470"/>
            <a:ext cx="4652589" cy="18378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2">
                    <a:lumMod val="25000"/>
                  </a:schemeClr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将来、実装したい商用電動車活用のイメージや構想</a:t>
            </a:r>
            <a:endParaRPr lang="en-US" altLang="ja-JP" sz="1200" dirty="0">
              <a:solidFill>
                <a:schemeClr val="tx2">
                  <a:lumMod val="25000"/>
                </a:schemeClr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2">
                    <a:lumMod val="25000"/>
                  </a:schemeClr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他地域において電動車を活用した事業イメー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ja-JP" altLang="en-US" sz="1200" dirty="0">
                <a:solidFill>
                  <a:schemeClr val="tx2">
                    <a:lumMod val="25000"/>
                  </a:schemeClr>
                </a:solidFill>
                <a:ea typeface="Meiryo UI" panose="020B0604030504040204" pitchFamily="50" charset="-128"/>
                <a:cs typeface="Arial" panose="020B0604020202020204" pitchFamily="34" charset="0"/>
              </a:rPr>
              <a:t>商用電動車活用を見据えたオペレーションモデルや社会実装を想定している事業内容　等</a:t>
            </a:r>
            <a:endParaRPr lang="en-US" altLang="ja-JP" sz="1200" dirty="0">
              <a:solidFill>
                <a:schemeClr val="tx2">
                  <a:lumMod val="25000"/>
                </a:schemeClr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  <a:p>
            <a:endParaRPr lang="ja-JP" altLang="en-US" sz="1200" dirty="0">
              <a:solidFill>
                <a:schemeClr val="tx1"/>
              </a:solidFill>
              <a:ea typeface="Meiryo UI" panose="020B0604030504040204" pitchFamily="50" charset="-128"/>
              <a:cs typeface="Arial" panose="020B0604020202020204" pitchFamily="34" charset="0"/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7C118BF8-4034-493C-BE4F-C2F53CCE7605}"/>
              </a:ext>
            </a:extLst>
          </p:cNvPr>
          <p:cNvSpPr/>
          <p:nvPr/>
        </p:nvSpPr>
        <p:spPr>
          <a:xfrm>
            <a:off x="206445" y="4522935"/>
            <a:ext cx="4648120" cy="36475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3. </a:t>
            </a:r>
            <a:r>
              <a:rPr lang="ja-JP" altLang="en-US" sz="1200" b="1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商用電動車</a:t>
            </a:r>
            <a:r>
              <a:rPr lang="ja-JP" altLang="en-US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の活用目的</a:t>
            </a:r>
          </a:p>
        </p:txBody>
      </p:sp>
      <p:graphicFrame>
        <p:nvGraphicFramePr>
          <p:cNvPr id="24" name="表 23">
            <a:extLst>
              <a:ext uri="{FF2B5EF4-FFF2-40B4-BE49-F238E27FC236}">
                <a16:creationId xmlns:a16="http://schemas.microsoft.com/office/drawing/2014/main" id="{D7274BBA-7441-40A3-8520-F61686DDF1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44142686"/>
              </p:ext>
            </p:extLst>
          </p:nvPr>
        </p:nvGraphicFramePr>
        <p:xfrm>
          <a:off x="201975" y="993034"/>
          <a:ext cx="4652589" cy="1562830"/>
        </p:xfrm>
        <a:graphic>
          <a:graphicData uri="http://schemas.openxmlformats.org/drawingml/2006/table">
            <a:tbl>
              <a:tblPr>
                <a:tableStyleId>{00A15C55-8517-42AA-B614-E9B94910E393}</a:tableStyleId>
              </a:tblPr>
              <a:tblGrid>
                <a:gridCol w="96021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92376">
                  <a:extLst>
                    <a:ext uri="{9D8B030D-6E8A-4147-A177-3AD203B41FA5}">
                      <a16:colId xmlns:a16="http://schemas.microsoft.com/office/drawing/2014/main" val="15657610"/>
                    </a:ext>
                  </a:extLst>
                </a:gridCol>
              </a:tblGrid>
              <a:tr h="305771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ja-JP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1. </a:t>
                      </a:r>
                      <a:r>
                        <a:rPr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事業の実施体制</a:t>
                      </a:r>
                      <a:endParaRPr kumimoji="1" lang="ja-JP" altLang="en-US" sz="1200" b="1" dirty="0">
                        <a:solidFill>
                          <a:schemeClr val="bg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3C64A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5771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団体区分</a:t>
                      </a:r>
                    </a:p>
                  </a:txBody>
                  <a:tcPr anchor="ctr">
                    <a:solidFill>
                      <a:srgbClr val="3C64A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200" b="1" dirty="0">
                          <a:solidFill>
                            <a:schemeClr val="bg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企業名（実施内容・役割）</a:t>
                      </a:r>
                    </a:p>
                  </a:txBody>
                  <a:tcPr anchor="ctr">
                    <a:solidFill>
                      <a:srgbClr val="3C64A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1415914"/>
                  </a:ext>
                </a:extLst>
              </a:tr>
              <a:tr h="288784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代表企業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実証実験の運行や取りまとめの主体）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2504">
                <a:tc>
                  <a:txBody>
                    <a:bodyPr/>
                    <a:lstStyle/>
                    <a:p>
                      <a:pPr marL="0" indent="0">
                        <a:spcAft>
                          <a:spcPts val="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参加企業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  <a:endParaRPr lang="en-US" altLang="ja-JP" sz="1100" dirty="0">
                        <a:solidFill>
                          <a:sysClr val="windowText" lastClr="000000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ja-JP" altLang="en-US" sz="1100" dirty="0">
                          <a:solidFill>
                            <a:sysClr val="windowText" lastClr="000000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  <a:cs typeface="Arial" panose="020B0604020202020204" pitchFamily="34" charset="0"/>
                        </a:rPr>
                        <a:t>●●会社（●●●●）</a:t>
                      </a:r>
                    </a:p>
                  </a:txBody>
                  <a:tcPr anchor="ctr"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393617"/>
                  </a:ext>
                </a:extLst>
              </a:tr>
            </a:tbl>
          </a:graphicData>
        </a:graphic>
      </p:graphicFrame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28DC9AAF-6380-4173-9E02-5D4683628DD9}"/>
              </a:ext>
            </a:extLst>
          </p:cNvPr>
          <p:cNvSpPr/>
          <p:nvPr/>
        </p:nvSpPr>
        <p:spPr>
          <a:xfrm>
            <a:off x="4953001" y="4522934"/>
            <a:ext cx="4865090" cy="357675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ja-JP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5. </a:t>
            </a:r>
            <a:r>
              <a:rPr lang="ja-JP" altLang="en-US" sz="1200" b="1" dirty="0">
                <a:solidFill>
                  <a:schemeClr val="bg1"/>
                </a:solidFill>
                <a:latin typeface="Arial Unicode MS" panose="020B0604020202020204" pitchFamily="50" charset="-128"/>
                <a:ea typeface="Meiryo UI" panose="020B0604030504040204" pitchFamily="50" charset="-128"/>
                <a:cs typeface="Arial" panose="020B0604020202020204" pitchFamily="34" charset="0"/>
              </a:rPr>
              <a:t>年間スケジュール</a:t>
            </a:r>
          </a:p>
        </p:txBody>
      </p:sp>
    </p:spTree>
    <p:extLst>
      <p:ext uri="{BB962C8B-B14F-4D97-AF65-F5344CB8AC3E}">
        <p14:creationId xmlns:p14="http://schemas.microsoft.com/office/powerpoint/2010/main" val="25856720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F1UKqMKzebNwA3MixQG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Hm2aOmTdG.xWOeVxnMb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yakHExuBwXF12E4eoj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yakHExuBwXF12E4eojJA"/>
</p:tagLst>
</file>

<file path=ppt/theme/theme1.xml><?xml version="1.0" encoding="utf-8"?>
<a:theme xmlns:a="http://schemas.openxmlformats.org/drawingml/2006/main" name="NRI Template 2019 Standard">
  <a:themeElements>
    <a:clrScheme name="NRI color">
      <a:dk1>
        <a:srgbClr val="000000"/>
      </a:dk1>
      <a:lt1>
        <a:srgbClr val="FFFFFF"/>
      </a:lt1>
      <a:dk2>
        <a:srgbClr val="CCCCCC"/>
      </a:dk2>
      <a:lt2>
        <a:srgbClr val="7F7F7F"/>
      </a:lt2>
      <a:accent1>
        <a:srgbClr val="000F78"/>
      </a:accent1>
      <a:accent2>
        <a:srgbClr val="3C64AA"/>
      </a:accent2>
      <a:accent3>
        <a:srgbClr val="64AADC"/>
      </a:accent3>
      <a:accent4>
        <a:srgbClr val="F59637"/>
      </a:accent4>
      <a:accent5>
        <a:srgbClr val="D73232"/>
      </a:accent5>
      <a:accent6>
        <a:srgbClr val="0F55C3"/>
      </a:accent6>
      <a:hlink>
        <a:srgbClr val="0092C5"/>
      </a:hlink>
      <a:folHlink>
        <a:srgbClr val="954F72"/>
      </a:folHlink>
    </a:clrScheme>
    <a:fontScheme name="Yu Gothic UI">
      <a:majorFont>
        <a:latin typeface="Yu Gothic UI"/>
        <a:ea typeface="Yu Gothic UI"/>
        <a:cs typeface=""/>
      </a:majorFont>
      <a:minorFont>
        <a:latin typeface="Yu Gothic UI"/>
        <a:ea typeface="Yu Gothic UI"/>
        <a:cs typeface=""/>
      </a:minorFont>
    </a:fontScheme>
    <a:fmtScheme name="Office テーマ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solidFill>
            <a:schemeClr val="tx1"/>
          </a:solidFill>
        </a:ln>
      </a:spPr>
      <a:bodyPr rtlCol="0" anchor="ctr"/>
      <a:lstStyle>
        <a:defPPr algn="ctr">
          <a:defRPr kumimoji="1"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txDef>
      <a:spPr>
        <a:noFill/>
      </a:spPr>
      <a:bodyPr wrap="none" rtlCol="0">
        <a:spAutoFit/>
      </a:bodyPr>
      <a:lstStyle>
        <a:defPPr algn="l">
          <a:lnSpc>
            <a:spcPct val="120000"/>
          </a:lnSpc>
          <a:defRPr kumimoji="1" sz="1000" smtClean="0"/>
        </a:defPPr>
      </a:lstStyle>
    </a:txDef>
  </a:objectDefaults>
  <a:extraClrSchemeLst>
    <a:extraClrScheme>
      <a:clrScheme name="NRI color">
        <a:dk1>
          <a:srgbClr val="000000"/>
        </a:dk1>
        <a:lt1>
          <a:srgbClr val="FFFFFF"/>
        </a:lt1>
        <a:dk2>
          <a:srgbClr val="CCCCCC"/>
        </a:dk2>
        <a:lt2>
          <a:srgbClr val="7F7F7F"/>
        </a:lt2>
        <a:accent1>
          <a:srgbClr val="000F78"/>
        </a:accent1>
        <a:accent2>
          <a:srgbClr val="3C64AA"/>
        </a:accent2>
        <a:accent3>
          <a:srgbClr val="64AADC"/>
        </a:accent3>
        <a:accent4>
          <a:srgbClr val="F59637"/>
        </a:accent4>
        <a:accent5>
          <a:srgbClr val="D73232"/>
        </a:accent5>
        <a:accent6>
          <a:srgbClr val="0F55C3"/>
        </a:accent6>
        <a:hlink>
          <a:srgbClr val="0092C5"/>
        </a:hlink>
        <a:folHlink>
          <a:srgbClr val="954F72"/>
        </a:folHlink>
      </a:clrScheme>
    </a:extraClrScheme>
  </a:extraClrSchemeLst>
  <a:custClrLst>
    <a:custClr name="navy">
      <a:srgbClr val="000F78"/>
    </a:custClr>
    <a:custClr name="blue1">
      <a:srgbClr val="96BEF5"/>
    </a:custClr>
    <a:custClr name="blue2">
      <a:srgbClr val="0F55C3"/>
    </a:custClr>
    <a:custClr name="blue3">
      <a:srgbClr val="64AADC"/>
    </a:custClr>
    <a:custClr name="blue4">
      <a:srgbClr val="3C64AA"/>
    </a:custClr>
    <a:custClr name="blue5">
      <a:srgbClr val="64A5B4"/>
    </a:custClr>
    <a:custClr name="blue gray">
      <a:srgbClr val="E4ECED"/>
    </a:custClr>
    <a:custClr name="white">
      <a:srgbClr val="FFFFFF"/>
    </a:custClr>
    <a:custClr name="white">
      <a:srgbClr val="FFFFFF"/>
    </a:custClr>
    <a:custClr name="white">
      <a:srgbClr val="FFFFFF"/>
    </a:custClr>
    <a:custClr name="red">
      <a:srgbClr val="D73232"/>
    </a:custClr>
    <a:custClr name="magenta">
      <a:srgbClr val="BE377D"/>
    </a:custClr>
    <a:custClr name="orange">
      <a:srgbClr val="F59637"/>
    </a:custClr>
    <a:custClr name="yellow">
      <a:srgbClr val="FFDC00"/>
    </a:custClr>
    <a:custClr name="green">
      <a:srgbClr val="BED200"/>
    </a:custClr>
    <a:custClr name="purple">
      <a:srgbClr val="5F3C91"/>
    </a:custClr>
  </a:custClrLst>
  <a:extLst>
    <a:ext uri="{05A4C25C-085E-4340-85A3-A5531E510DB2}">
      <thm15:themeFamily xmlns:thm15="http://schemas.microsoft.com/office/thememl/2012/main" name="nri_temp_a4_beta_ver.5.0.potx" id="{291108CF-5D78-4675-AB9A-342BA84F1EFF}" vid="{8C464B15-D683-4F99-937B-6D251F0E115C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nri_template2019_standard_Ver.1.1</Template>
  <TotalTime>416</TotalTime>
  <Words>478</Words>
  <Application>Microsoft Office PowerPoint</Application>
  <PresentationFormat>A4 210 x 297 mm</PresentationFormat>
  <Paragraphs>65</Paragraphs>
  <Slides>2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12" baseType="lpstr">
      <vt:lpstr>Arial Unicode MS</vt:lpstr>
      <vt:lpstr>HGP創英角ｺﾞｼｯｸUB</vt:lpstr>
      <vt:lpstr>Meiryo UI</vt:lpstr>
      <vt:lpstr>Yu Gothic UI</vt:lpstr>
      <vt:lpstr>システムフォント</vt:lpstr>
      <vt:lpstr>游ゴシック</vt:lpstr>
      <vt:lpstr>Arial</vt:lpstr>
      <vt:lpstr>Wingdings</vt:lpstr>
      <vt:lpstr>NRI Template 2019 Standard</vt:lpstr>
      <vt:lpstr>think-cell スライド</vt:lpstr>
      <vt:lpstr>令和4年度「無人自動運転等のCASE対応に向けた実証・支援事業費補助金(商用電動車等の普及加速に向けた実証事業)」 　・統合制御用半導体のシミュレーションによる設計基盤構築事業　　　　　　　　　　　　　　　会社名</vt:lpstr>
      <vt:lpstr>令和4年度「無人自動運転等のCASE対応に向けた実証・支援事業費補助金(商用電動車等の普及加速に向けた実証事業)」　　 　・商用電動車の普及に向けた研究開発・実証事業　　　　　　　　　　　　　　　　　会社名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各パイロット地域の取組状況について</dc:title>
  <dc:creator>Kenichi Shibuya</dc:creator>
  <cp:lastModifiedBy>shimojo</cp:lastModifiedBy>
  <cp:revision>56</cp:revision>
  <dcterms:created xsi:type="dcterms:W3CDTF">2020-12-11T00:06:29Z</dcterms:created>
  <dcterms:modified xsi:type="dcterms:W3CDTF">2022-06-13T01:32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ef189ee4-8c06-4307-84f0-b0dc5d58d0ae_Enabled">
    <vt:lpwstr>True</vt:lpwstr>
  </property>
  <property fmtid="{D5CDD505-2E9C-101B-9397-08002B2CF9AE}" pid="3" name="MSIP_Label_ef189ee4-8c06-4307-84f0-b0dc5d58d0ae_SiteId">
    <vt:lpwstr>18a7fec8-652f-409b-8369-272d9ce80620</vt:lpwstr>
  </property>
  <property fmtid="{D5CDD505-2E9C-101B-9397-08002B2CF9AE}" pid="4" name="MSIP_Label_ef189ee4-8c06-4307-84f0-b0dc5d58d0ae_Owner">
    <vt:lpwstr>matsumoto.o@aist.go.jp</vt:lpwstr>
  </property>
  <property fmtid="{D5CDD505-2E9C-101B-9397-08002B2CF9AE}" pid="5" name="MSIP_Label_ef189ee4-8c06-4307-84f0-b0dc5d58d0ae_SetDate">
    <vt:lpwstr>2021-01-07T02:46:01.0805317Z</vt:lpwstr>
  </property>
  <property fmtid="{D5CDD505-2E9C-101B-9397-08002B2CF9AE}" pid="6" name="MSIP_Label_ef189ee4-8c06-4307-84f0-b0dc5d58d0ae_Name">
    <vt:lpwstr>AIST Only</vt:lpwstr>
  </property>
  <property fmtid="{D5CDD505-2E9C-101B-9397-08002B2CF9AE}" pid="7" name="MSIP_Label_ef189ee4-8c06-4307-84f0-b0dc5d58d0ae_Application">
    <vt:lpwstr>Microsoft Azure Information Protection</vt:lpwstr>
  </property>
  <property fmtid="{D5CDD505-2E9C-101B-9397-08002B2CF9AE}" pid="8" name="MSIP_Label_ef189ee4-8c06-4307-84f0-b0dc5d58d0ae_ActionId">
    <vt:lpwstr>da3553a4-4b64-46c5-a1aa-2431e4ec7c1b</vt:lpwstr>
  </property>
  <property fmtid="{D5CDD505-2E9C-101B-9397-08002B2CF9AE}" pid="9" name="MSIP_Label_ef189ee4-8c06-4307-84f0-b0dc5d58d0ae_Extended_MSFT_Method">
    <vt:lpwstr>Automatic</vt:lpwstr>
  </property>
  <property fmtid="{D5CDD505-2E9C-101B-9397-08002B2CF9AE}" pid="10" name="Sensitivity">
    <vt:lpwstr>AIST Only</vt:lpwstr>
  </property>
</Properties>
</file>